
<file path=[Content_Types].xml><?xml version="1.0" encoding="utf-8"?>
<Types xmlns="http://schemas.openxmlformats.org/package/2006/content-types"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468_A8AB18EC.xml" ContentType="application/vnd.ms-powerpoint.comments+xml"/>
  <Override PartName="/ppt/notesSlides/notesSlide3.xml" ContentType="application/vnd.openxmlformats-officedocument.presentationml.notesSlide+xml"/>
  <Override PartName="/ppt/comments/modernComment_476_3E4ECBAD.xml" ContentType="application/vnd.ms-powerpoint.comments+xml"/>
  <Override PartName="/ppt/notesSlides/notesSlide4.xml" ContentType="application/vnd.openxmlformats-officedocument.presentationml.notesSlide+xml"/>
  <Override PartName="/ppt/comments/modernComment_474_E194B6F6.xml" ContentType="application/vnd.ms-powerpoint.comments+xml"/>
  <Override PartName="/ppt/notesSlides/notesSlide5.xml" ContentType="application/vnd.openxmlformats-officedocument.presentationml.notesSlide+xml"/>
  <Override PartName="/ppt/comments/modernComment_46A_CFA055B9.xml" ContentType="application/vnd.ms-powerpoint.comments+xml"/>
  <Override PartName="/ppt/notesSlides/notesSlide6.xml" ContentType="application/vnd.openxmlformats-officedocument.presentationml.notesSlide+xml"/>
  <Override PartName="/ppt/comments/modernComment_46C_E0049E5F.xml" ContentType="application/vnd.ms-powerpoint.comments+xml"/>
  <Override PartName="/ppt/notesSlides/notesSlide7.xml" ContentType="application/vnd.openxmlformats-officedocument.presentationml.notesSlide+xml"/>
  <Override PartName="/ppt/comments/modernComment_475_F33BECFC.xml" ContentType="application/vnd.ms-powerpoint.comments+xml"/>
  <Override PartName="/ppt/notesSlides/notesSlide8.xml" ContentType="application/vnd.openxmlformats-officedocument.presentationml.notesSlide+xml"/>
  <Override PartName="/ppt/comments/modernComment_458_9D8F86AD.xml" ContentType="application/vnd.ms-powerpoint.comments+xml"/>
  <Override PartName="/ppt/notesSlides/notesSlide9.xml" ContentType="application/vnd.openxmlformats-officedocument.presentationml.notesSlide+xml"/>
  <Override PartName="/ppt/comments/modernComment_45E_8344E8DC.xml" ContentType="application/vnd.ms-powerpoint.comments+xml"/>
  <Override PartName="/ppt/notesSlides/notesSlide10.xml" ContentType="application/vnd.openxmlformats-officedocument.presentationml.notesSlide+xml"/>
  <Override PartName="/ppt/comments/modernComment_471_83FFB434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7" r:id="rId2"/>
    <p:sldId id="1128" r:id="rId3"/>
    <p:sldId id="1142" r:id="rId4"/>
    <p:sldId id="1140" r:id="rId5"/>
    <p:sldId id="1130" r:id="rId6"/>
    <p:sldId id="1132" r:id="rId7"/>
    <p:sldId id="1141" r:id="rId8"/>
    <p:sldId id="1112" r:id="rId9"/>
    <p:sldId id="1118" r:id="rId10"/>
    <p:sldId id="1137" r:id="rId11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8855E2-CC53-0848-E46F-924B89AB996A}" name="송태웅" initials="송" userId="S::21700384@handong.edu::299db977-31b8-4373-94f4-ec0ae4568f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966"/>
    <a:srgbClr val="E7E6E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209" autoAdjust="0"/>
    <p:restoredTop sz="78706" autoAdjust="0"/>
  </p:normalViewPr>
  <p:slideViewPr>
    <p:cSldViewPr snapToGrid="0">
      <p:cViewPr varScale="1">
        <p:scale>
          <a:sx n="89" d="100"/>
          <a:sy n="89" d="100"/>
        </p:scale>
        <p:origin x="17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38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modernComment_458_9D8F86A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6AAD6B4-9889-4D0C-870D-CCA957ECCC67}" authorId="{F18855E2-CC53-0848-E46F-924B89AB996A}" created="2023-03-05T07:54:04.239">
    <pc:sldMkLst xmlns:pc="http://schemas.microsoft.com/office/powerpoint/2013/main/command">
      <pc:docMk/>
      <pc:sldMk cId="1158763768" sldId="1037"/>
    </pc:sldMkLst>
    <p188:txBody>
      <a:bodyPr/>
      <a:lstStyle/>
      <a:p>
        <a:r>
          <a:rPr lang="ko-KR" altLang="en-US"/>
          <a:t>1. 가까울수록 정확도 향상
2. 표면 부정확성</a:t>
        </a:r>
      </a:p>
    </p188:txBody>
  </p188:cm>
</p188:cmLst>
</file>

<file path=ppt/comments/modernComment_45E_8344E8D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62FB117-80DF-43A7-B4F8-0AF28A6F2BD1}" authorId="{F18855E2-CC53-0848-E46F-924B89AB996A}" created="2023-03-05T07:54:04.239">
    <pc:sldMkLst xmlns:pc="http://schemas.microsoft.com/office/powerpoint/2013/main/command">
      <pc:docMk/>
      <pc:sldMk cId="1158763768" sldId="1037"/>
    </pc:sldMkLst>
    <p188:txBody>
      <a:bodyPr/>
      <a:lstStyle/>
      <a:p>
        <a:r>
          <a:rPr lang="ko-KR" altLang="en-US"/>
          <a:t>1. 가까울수록 정확도 향상
2. 표면 부정확성</a:t>
        </a:r>
      </a:p>
    </p188:txBody>
  </p188:cm>
</p188:cmLst>
</file>

<file path=ppt/comments/modernComment_468_A8AB18E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4C30F90-CF97-4A9C-AC56-7335EB13C01B}" authorId="{F18855E2-CC53-0848-E46F-924B89AB996A}" created="2023-03-05T07:54:04.239">
    <pc:sldMkLst xmlns:pc="http://schemas.microsoft.com/office/powerpoint/2013/main/command">
      <pc:docMk/>
      <pc:sldMk cId="1158763768" sldId="1037"/>
    </pc:sldMkLst>
    <p188:txBody>
      <a:bodyPr/>
      <a:lstStyle/>
      <a:p>
        <a:r>
          <a:rPr lang="ko-KR" altLang="en-US"/>
          <a:t>1. 가까울수록 정확도 향상
2. 표면 부정확성</a:t>
        </a:r>
      </a:p>
    </p188:txBody>
  </p188:cm>
</p188:cmLst>
</file>

<file path=ppt/comments/modernComment_46A_CFA055B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595C341-9FC2-4C9B-BF23-7A76E75A6420}" authorId="{F18855E2-CC53-0848-E46F-924B89AB996A}" created="2023-03-05T07:54:04.239">
    <pc:sldMkLst xmlns:pc="http://schemas.microsoft.com/office/powerpoint/2013/main/command">
      <pc:docMk/>
      <pc:sldMk cId="1158763768" sldId="1037"/>
    </pc:sldMkLst>
    <p188:txBody>
      <a:bodyPr/>
      <a:lstStyle/>
      <a:p>
        <a:r>
          <a:rPr lang="ko-KR" altLang="en-US"/>
          <a:t>1. 가까울수록 정확도 향상
2. 표면 부정확성</a:t>
        </a:r>
      </a:p>
    </p188:txBody>
  </p188:cm>
</p188:cmLst>
</file>

<file path=ppt/comments/modernComment_46C_E0049E5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B9018D8-552F-46BE-95EA-E96C06DC8E09}" authorId="{F18855E2-CC53-0848-E46F-924B89AB996A}" created="2023-03-05T07:54:04.239">
    <pc:sldMkLst xmlns:pc="http://schemas.microsoft.com/office/powerpoint/2013/main/command">
      <pc:docMk/>
      <pc:sldMk cId="1158763768" sldId="1037"/>
    </pc:sldMkLst>
    <p188:txBody>
      <a:bodyPr/>
      <a:lstStyle/>
      <a:p>
        <a:r>
          <a:rPr lang="ko-KR" altLang="en-US"/>
          <a:t>1. 가까울수록 정확도 향상
2. 표면 부정확성</a:t>
        </a:r>
      </a:p>
    </p188:txBody>
  </p188:cm>
</p188:cmLst>
</file>

<file path=ppt/comments/modernComment_471_83FFB43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DD016DE-A888-40F9-9230-9F13ADECF92E}" authorId="{F18855E2-CC53-0848-E46F-924B89AB996A}" created="2023-03-05T07:54:04.239">
    <pc:sldMkLst xmlns:pc="http://schemas.microsoft.com/office/powerpoint/2013/main/command">
      <pc:docMk/>
      <pc:sldMk cId="1158763768" sldId="1037"/>
    </pc:sldMkLst>
    <p188:txBody>
      <a:bodyPr/>
      <a:lstStyle/>
      <a:p>
        <a:r>
          <a:rPr lang="ko-KR" altLang="en-US"/>
          <a:t>1. 가까울수록 정확도 향상
2. 표면 부정확성</a:t>
        </a:r>
      </a:p>
    </p188:txBody>
  </p188:cm>
</p188:cmLst>
</file>

<file path=ppt/comments/modernComment_474_E194B6F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BDC06BC-2F73-4A31-AEAB-E15F1732060A}" authorId="{F18855E2-CC53-0848-E46F-924B89AB996A}" created="2023-03-05T07:54:04.239">
    <pc:sldMkLst xmlns:pc="http://schemas.microsoft.com/office/powerpoint/2013/main/command">
      <pc:docMk/>
      <pc:sldMk cId="1158763768" sldId="1037"/>
    </pc:sldMkLst>
    <p188:txBody>
      <a:bodyPr/>
      <a:lstStyle/>
      <a:p>
        <a:r>
          <a:rPr lang="ko-KR" altLang="en-US"/>
          <a:t>1. 가까울수록 정확도 향상
2. 표면 부정확성</a:t>
        </a:r>
      </a:p>
    </p188:txBody>
  </p188:cm>
</p188:cmLst>
</file>

<file path=ppt/comments/modernComment_475_F33BECF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6CB3CE9-DF95-4F79-B075-CB9002B601B3}" authorId="{F18855E2-CC53-0848-E46F-924B89AB996A}" created="2023-03-05T07:54:04.239">
    <pc:sldMkLst xmlns:pc="http://schemas.microsoft.com/office/powerpoint/2013/main/command">
      <pc:docMk/>
      <pc:sldMk cId="1158763768" sldId="1037"/>
    </pc:sldMkLst>
    <p188:txBody>
      <a:bodyPr/>
      <a:lstStyle/>
      <a:p>
        <a:r>
          <a:rPr lang="ko-KR" altLang="en-US"/>
          <a:t>1. 가까울수록 정확도 향상
2. 표면 부정확성</a:t>
        </a:r>
      </a:p>
    </p188:txBody>
  </p188:cm>
</p188:cmLst>
</file>

<file path=ppt/comments/modernComment_476_3E4ECBA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D15584E-8A93-4A86-83CA-AF13F96C9AE2}" authorId="{F18855E2-CC53-0848-E46F-924B89AB996A}" created="2023-03-05T07:54:04.239">
    <pc:sldMkLst xmlns:pc="http://schemas.microsoft.com/office/powerpoint/2013/main/command">
      <pc:docMk/>
      <pc:sldMk cId="1158763768" sldId="1037"/>
    </pc:sldMkLst>
    <p188:txBody>
      <a:bodyPr/>
      <a:lstStyle/>
      <a:p>
        <a:r>
          <a:rPr lang="ko-KR" altLang="en-US"/>
          <a:t>1. 가까울수록 정확도 향상
2. 표면 부정확성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A7BA09-5DC9-4BD0-B9F4-A5FA7766A50C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9B2C3B-E06F-4229-9153-267A90AB102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27872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r>
              <a:rPr kumimoji="1" lang="ko-KR" altLang="en-US" sz="1200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재난 현장 내 잔해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ㅈ모션</a:t>
            </a:r>
            <a:r>
              <a:rPr kumimoji="1" lang="ko-KR" altLang="en-US" sz="1200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트래킹</a:t>
            </a:r>
            <a:r>
              <a:rPr kumimoji="1" lang="ko-KR" altLang="en-US" sz="1200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정말 </a:t>
            </a:r>
            <a:r>
              <a:rPr kumimoji="1" lang="ko-KR" altLang="en-US" sz="1200" b="0" dirty="0" err="1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파징</a:t>
            </a:r>
            <a:r>
              <a:rPr kumimoji="1" lang="ko-KR" altLang="en-US" sz="1200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 시스템</a:t>
            </a:r>
            <a:endParaRPr kumimoji="1" lang="en-US" altLang="ko-KR" sz="1200" b="0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이상입니다</a:t>
            </a:r>
            <a:r>
              <a:rPr lang="en-US" altLang="ko-KR" dirty="0"/>
              <a:t>. </a:t>
            </a:r>
            <a:r>
              <a:rPr lang="ko-KR" altLang="en-US" dirty="0"/>
              <a:t>감사합니다</a:t>
            </a:r>
            <a:r>
              <a:rPr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84677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578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재난 복구 작업 순서</a:t>
            </a:r>
            <a:endParaRPr lang="en-US" altLang="ko-KR" dirty="0"/>
          </a:p>
          <a:p>
            <a:pPr marL="228600" indent="-228600">
              <a:buAutoNum type="arabicPeriod"/>
            </a:pPr>
            <a:r>
              <a:rPr lang="ko-KR" altLang="en-US" dirty="0"/>
              <a:t>재난 발생</a:t>
            </a:r>
            <a:endParaRPr lang="en-US" altLang="ko-KR" dirty="0"/>
          </a:p>
          <a:p>
            <a:pPr marL="228600" indent="-228600">
              <a:buAutoNum type="arabicPeriod"/>
            </a:pPr>
            <a:r>
              <a:rPr lang="ko-KR" altLang="en-US" b="0" i="0" dirty="0">
                <a:solidFill>
                  <a:srgbClr val="000000"/>
                </a:solidFill>
                <a:effectLst/>
                <a:latin typeface="noto"/>
              </a:rPr>
              <a:t>손상 상황 식별</a:t>
            </a:r>
            <a:br>
              <a:rPr lang="ko-KR" altLang="en-US" dirty="0"/>
            </a:br>
            <a:r>
              <a:rPr lang="ko-KR" altLang="en-US" b="0" i="0" dirty="0">
                <a:solidFill>
                  <a:srgbClr val="000000"/>
                </a:solidFill>
                <a:effectLst/>
                <a:latin typeface="noto"/>
              </a:rPr>
              <a:t>재해 대응 현황 분석 및 보고</a:t>
            </a:r>
            <a:endParaRPr lang="en-US" altLang="ko-KR" b="0" i="0" dirty="0">
              <a:solidFill>
                <a:srgbClr val="000000"/>
              </a:solidFill>
              <a:effectLst/>
              <a:latin typeface="noto"/>
            </a:endParaRPr>
          </a:p>
          <a:p>
            <a:pPr marL="228600" indent="-228600">
              <a:buAutoNum type="arabicPeriod"/>
            </a:pPr>
            <a:r>
              <a:rPr lang="ko-KR" altLang="en-US" b="0" i="0" dirty="0">
                <a:solidFill>
                  <a:srgbClr val="000000"/>
                </a:solidFill>
                <a:effectLst/>
                <a:latin typeface="noto"/>
              </a:rPr>
              <a:t>인명 피해 없는 장애물 처리</a:t>
            </a:r>
            <a:endParaRPr lang="en-US" altLang="ko-KR" b="0" i="0" dirty="0">
              <a:solidFill>
                <a:srgbClr val="000000"/>
              </a:solidFill>
              <a:effectLst/>
              <a:latin typeface="noto"/>
            </a:endParaRPr>
          </a:p>
          <a:p>
            <a:pPr marL="228600" indent="-228600">
              <a:buAutoNum type="arabicPeriod"/>
            </a:pPr>
            <a:r>
              <a:rPr lang="ko-KR" altLang="en-US" b="0" i="0" dirty="0">
                <a:solidFill>
                  <a:srgbClr val="000000"/>
                </a:solidFill>
                <a:effectLst/>
                <a:latin typeface="noto"/>
              </a:rPr>
              <a:t>재난 원인 조사 및 재해지역 지원</a:t>
            </a:r>
            <a:endParaRPr lang="en-US" altLang="ko-KR" b="0" i="0" dirty="0">
              <a:solidFill>
                <a:srgbClr val="000000"/>
              </a:solidFill>
              <a:effectLst/>
              <a:latin typeface="noto"/>
            </a:endParaRPr>
          </a:p>
          <a:p>
            <a:pPr marL="228600" indent="-228600">
              <a:buAutoNum type="arabicPeriod"/>
            </a:pPr>
            <a:endParaRPr lang="en-US" altLang="ko-KR" b="0" i="0" dirty="0">
              <a:solidFill>
                <a:srgbClr val="000000"/>
              </a:solidFill>
              <a:effectLst/>
              <a:latin typeface="noto"/>
            </a:endParaRPr>
          </a:p>
          <a:p>
            <a:pPr marL="228600" indent="-228600">
              <a:buAutoNum type="arabicPeriod"/>
            </a:pP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32226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93793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59634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높이 측정 알고리즘을 간략하게 </a:t>
            </a:r>
            <a:r>
              <a:rPr lang="ko-KR" altLang="en-US" dirty="0" err="1"/>
              <a:t>설명드리면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en-US" altLang="ko-KR" dirty="0"/>
              <a:t>k-means </a:t>
            </a:r>
            <a:r>
              <a:rPr lang="ko-KR" altLang="en-US" dirty="0"/>
              <a:t>거리 기반 클러스터링으로 각 벽돌의 데이터를 분리하였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후 거리정보를 의미하는 </a:t>
            </a:r>
            <a:r>
              <a:rPr lang="en-US" altLang="ko-KR" dirty="0"/>
              <a:t>z-</a:t>
            </a:r>
            <a:r>
              <a:rPr lang="ko-KR" altLang="en-US" dirty="0"/>
              <a:t>축 데이터에 이동 평균 필터를 사용해서 노이즈를 감쇄하였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마지막으로 </a:t>
            </a:r>
            <a:r>
              <a:rPr lang="en-US" altLang="ko-KR" dirty="0"/>
              <a:t>rms </a:t>
            </a:r>
            <a:r>
              <a:rPr lang="ko-KR" altLang="en-US" dirty="0"/>
              <a:t>값을 추출하여 물체의 높이를 추정하였습니다</a:t>
            </a:r>
            <a:r>
              <a:rPr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9905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높이 측정 알고리즘을 간략하게 </a:t>
            </a:r>
            <a:r>
              <a:rPr lang="ko-KR" altLang="en-US" dirty="0" err="1"/>
              <a:t>설명드리면</a:t>
            </a:r>
            <a:r>
              <a:rPr lang="en-US" altLang="ko-KR" dirty="0"/>
              <a:t>,</a:t>
            </a:r>
          </a:p>
          <a:p>
            <a:endParaRPr lang="en-US" altLang="ko-KR" dirty="0"/>
          </a:p>
          <a:p>
            <a:r>
              <a:rPr lang="en-US" altLang="ko-KR" dirty="0"/>
              <a:t>k-means </a:t>
            </a:r>
            <a:r>
              <a:rPr lang="ko-KR" altLang="en-US" dirty="0"/>
              <a:t>거리 기반 클러스터링으로 각 벽돌의 데이터를 분리하였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후 거리정보를 의미하는 </a:t>
            </a:r>
            <a:r>
              <a:rPr lang="en-US" altLang="ko-KR" dirty="0"/>
              <a:t>z-</a:t>
            </a:r>
            <a:r>
              <a:rPr lang="ko-KR" altLang="en-US" dirty="0"/>
              <a:t>축 데이터에 이동 평균 필터를 사용해서 노이즈를 감쇄하였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마지막으로 </a:t>
            </a:r>
            <a:r>
              <a:rPr lang="en-US" altLang="ko-KR" dirty="0"/>
              <a:t>rms </a:t>
            </a:r>
            <a:r>
              <a:rPr lang="ko-KR" altLang="en-US" dirty="0"/>
              <a:t>값을 추출하여 물체의 높이를 추정하였습니다</a:t>
            </a:r>
            <a:r>
              <a:rPr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18395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평가 데이터셋에 대한 결과로 정확도 </a:t>
            </a:r>
            <a:r>
              <a:rPr lang="en-US" altLang="ko-KR" dirty="0"/>
              <a:t>94.5% </a:t>
            </a:r>
            <a:r>
              <a:rPr lang="ko-KR" altLang="en-US" dirty="0"/>
              <a:t>의 높은 분류결과를 보였습니다</a:t>
            </a:r>
            <a:r>
              <a:rPr lang="en-US" altLang="ko-KR" dirty="0"/>
              <a:t>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13602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결론 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연구 목표 </a:t>
            </a:r>
            <a:r>
              <a:rPr lang="en-US" altLang="ko-KR" dirty="0"/>
              <a:t>3</a:t>
            </a:r>
            <a:r>
              <a:rPr lang="ko-KR" altLang="en-US" dirty="0"/>
              <a:t>가지 태스크 중 먼저 </a:t>
            </a:r>
            <a:r>
              <a:rPr lang="en-US" altLang="ko-KR" dirty="0"/>
              <a:t>3</a:t>
            </a:r>
            <a:r>
              <a:rPr lang="ko-KR" altLang="en-US" dirty="0"/>
              <a:t>차원 치수 측정을 가로세로 오차를 각각 </a:t>
            </a:r>
            <a:r>
              <a:rPr lang="en-US" altLang="ko-KR" dirty="0"/>
              <a:t>1.92[mm], 1.93[mm]</a:t>
            </a:r>
            <a:r>
              <a:rPr lang="ko-KR" altLang="en-US" dirty="0"/>
              <a:t>으로 기업에서 제시간 요구조건을 만족하였으나</a:t>
            </a:r>
            <a:r>
              <a:rPr lang="en-US" altLang="ko-KR" dirty="0"/>
              <a:t>, </a:t>
            </a:r>
            <a:r>
              <a:rPr lang="ko-KR" altLang="en-US" dirty="0"/>
              <a:t>높이오차는 </a:t>
            </a:r>
            <a:r>
              <a:rPr lang="en-US" altLang="ko-KR" dirty="0"/>
              <a:t>2.04[mm]</a:t>
            </a:r>
            <a:r>
              <a:rPr lang="ko-KR" altLang="en-US" dirty="0"/>
              <a:t>로 요구조건을 만족하지 못하였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스마트폰 기반 높이 측정에 경우 좌우 평균 높이 오차 </a:t>
            </a:r>
            <a:r>
              <a:rPr lang="en-US" altLang="ko-KR" dirty="0"/>
              <a:t>1.08 / 1.0[mm]</a:t>
            </a:r>
            <a:r>
              <a:rPr lang="ko-KR" altLang="en-US" dirty="0"/>
              <a:t>으로 요구조건을 만족하였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마지막으로 벽돌 표면 결함 분류 성능은 </a:t>
            </a:r>
            <a:r>
              <a:rPr lang="en-US" altLang="ko-KR" dirty="0"/>
              <a:t>94.5[%]</a:t>
            </a:r>
            <a:r>
              <a:rPr lang="ko-KR" altLang="en-US" dirty="0"/>
              <a:t>로 요구조건을 만족하였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위 알고리즘을 통해 발생가능한 기대효과는 품질검사 능력 향상으로 인한 벽돌 품질 개선을 기대할 수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또한 레이저 센서와 같은 고가 센서가 아닌 </a:t>
            </a:r>
            <a:r>
              <a:rPr lang="en-US" altLang="ko-KR" dirty="0"/>
              <a:t>3d </a:t>
            </a:r>
            <a:r>
              <a:rPr lang="en-US" altLang="ko-KR" dirty="0" err="1"/>
              <a:t>tof</a:t>
            </a:r>
            <a:r>
              <a:rPr lang="en-US" altLang="ko-KR" dirty="0"/>
              <a:t> </a:t>
            </a:r>
            <a:r>
              <a:rPr lang="ko-KR" altLang="en-US" dirty="0"/>
              <a:t>카메라 및 스마트폰을 사용함으로써 센서 가격을 크게 절감할 수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마지막으로 해외로 하드웨어 이전 등의 문제를 스마트폰 기반 알고리즘을 통해 국외로 기술 확대 등을 기대 할 수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1137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C27E551-E3B5-A894-78B9-6009A2E011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10C8532E-B2D0-241B-ED12-F402965718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47AC732-8749-C237-5B3B-E17A365AD3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0B102B8-5078-AA1D-5F3E-40758EC08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588B8BF-662A-A117-61F4-B0D588E95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92368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2F86E49-9149-C37C-AD50-3E2BFA1ACD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E87CE726-54AF-8C59-83DE-F25D6C1750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9F8A0C3-151F-5F8B-BBDC-07C911CAB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9EB7E95-0ACF-24FF-6CAC-76E972D36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755D08C-0026-1DBB-506E-D7C07679B2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0139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FF06BAC0-3E19-ACE7-556B-020EAB64186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69CB39E1-5F58-AD29-8FE1-07AA8C9A98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C44DDE9-97B3-F919-9D61-8C6FA12C9E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DA23AC1-1DF9-0BCE-F9C0-C291CC11B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8FB4264-1773-1300-B298-981E211BC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292309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>
              <a:solidFill>
                <a:prstClr val="black"/>
              </a:solidFill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9693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255221" y="2722418"/>
            <a:ext cx="985820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/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255221" y="1205317"/>
            <a:ext cx="985820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521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A50B60-F6AF-B193-D6EC-A20A75AB8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85D012A-B7A1-5BF0-5CB1-FA05EB72CE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59FE6EF-47B9-CB42-C310-78B48D289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A4D8208-D352-B1C2-6239-CEF8B6B21A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25DA923-6849-3670-DA1A-F21F70BE6C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79556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00B6A4A-1D4E-688B-B9E6-D1223CEBB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BFC4006-8934-7F1E-DE31-029279E8AD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944B372-EB37-FE28-C831-FB323B8F7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2DC9F19-ECA1-8811-3BBD-C040FB0AA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1D11AB3-0CE8-94AF-FAA5-0CAA6BC9D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22518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68BC8E5-7DF7-D9EA-B96A-8EEB22584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2D7E341-6E26-461F-0D35-4D4409F48D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4400ACF5-D89E-F403-3185-FA29C1B9C4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0C55709-2215-0A45-9B19-25F343E78D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1A496BE1-0C8D-0957-8691-4652E78C4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DEDB4893-D812-891A-9AA4-7CF2CFF32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07357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7D941FA-B1E9-D1B7-1FEB-B19FA3ECB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6924061-BA45-36BA-F8C7-6B1BA3184B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9B4763CC-36C2-8159-12C5-F4696063D3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90BA56ED-6D5D-5F03-F4C0-2C4CD23F23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08A7A168-79D3-16F2-2E99-48F46BE674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FEF34AE9-4B45-077F-F415-E1DBDF7F4C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56DB586-4D1D-3843-F64D-74E7A07C5F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C8132AF-3BCE-0B67-7F49-B987D753B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484114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D794CB-E5D6-57AA-AA75-E2A3AB2CC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B28C29D1-CECF-286E-595A-237966249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908178AF-47B9-23F4-A561-83E5360AB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1DBFE235-BBB4-E576-4FA6-F983E8CFD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85161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9671A25-6F41-8DFD-136D-9AF2117D95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30DA0E56-B9B4-9288-7313-14AF5BDC2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99594B0-CF16-A476-5953-5E75636D5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54646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71AEA2D-8D6C-C871-EFB8-6BA5A9EF0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43B4D9F-8D85-7AB4-D937-AA3FE4C661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2256BC2-0EC7-EFC6-B8BE-B2CFC6DA83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BE92FA1-A13C-7C97-77FE-9399AE50D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8B55AA9-F07B-AC06-078F-A650D590F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65A220ED-ED79-1F8B-4CAA-1E00E7C81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57831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18476CF-8885-7C0F-88A5-197F3314C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AD2196A4-6F9C-2685-EB82-0F954AF9949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0B02D248-FAAE-EC14-E761-DE047EA48B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AB8AD61-D5BC-E9B6-F789-813860CE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212E74A-B5B8-B230-6C37-0DB96E2216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05298E7-B4E9-5F76-BBD0-CA5B1BDF32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04810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901FDBFF-3E48-D093-E5E4-B1B81EB38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150D409-E96C-B9AE-1180-4492A5D8C8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4031355-AA53-DDFD-700D-142480B96F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E1958F-7471-40F4-AACE-CE11FAB150C0}" type="datetimeFigureOut">
              <a:rPr lang="ko-KR" altLang="en-US" smtClean="0"/>
              <a:t>2023-06-1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0191F79-86D0-06A5-594D-ED7A5872DD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9BE5B4D-40BF-23B6-B1A7-61F22C78B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2ED232-7F08-4E24-91D0-9C1588CE736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8048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471_83FFB43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.png"/><Relationship Id="rId5" Type="http://schemas.microsoft.com/office/2018/10/relationships/comments" Target="../comments/modernComment_468_A8AB18EC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476_3E4ECBAD.xml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474_E194B6F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70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46A_CFA055B9.xml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microsoft.com/office/2018/10/relationships/comments" Target="../comments/modernComment_46C_E0049E5F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475_F33BECFC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png"/><Relationship Id="rId4" Type="http://schemas.openxmlformats.org/officeDocument/2006/relationships/image" Target="../media/image20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microsoft.com/office/2018/10/relationships/comments" Target="../comments/modernComment_458_9D8F86AD.xml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45E_8344E8DC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ChangeArrowheads="1"/>
          </p:cNvSpPr>
          <p:nvPr/>
        </p:nvSpPr>
        <p:spPr bwMode="auto">
          <a:xfrm>
            <a:off x="3615977" y="2898584"/>
            <a:ext cx="4959975" cy="130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lnSpc>
                <a:spcPct val="20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023. 6. 14</a:t>
            </a:r>
          </a:p>
          <a:p>
            <a:pPr algn="ctr"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andong</a:t>
            </a:r>
            <a:r>
              <a:rPr lang="ko-KR" altLang="en-US" sz="1400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en-US" altLang="ko-KR" sz="1400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lobal University</a:t>
            </a:r>
          </a:p>
          <a:p>
            <a:pPr algn="ctr">
              <a:lnSpc>
                <a:spcPct val="150000"/>
              </a:lnSpc>
            </a:pPr>
            <a:r>
              <a:rPr lang="en-US" altLang="ko-KR" sz="1400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chool of Mechanical and Control Engineer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942DC1-6F3C-4C84-33AA-E5C48587F008}"/>
              </a:ext>
            </a:extLst>
          </p:cNvPr>
          <p:cNvSpPr txBox="1"/>
          <p:nvPr/>
        </p:nvSpPr>
        <p:spPr>
          <a:xfrm>
            <a:off x="846670" y="1312427"/>
            <a:ext cx="10498588" cy="130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8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obot Control System </a:t>
            </a:r>
          </a:p>
          <a:p>
            <a:pPr algn="ctr">
              <a:lnSpc>
                <a:spcPct val="150000"/>
              </a:lnSpc>
            </a:pPr>
            <a:r>
              <a:rPr lang="en-US" altLang="ko-KR" sz="28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or Motion Tracking and Precise Parsing in Disaster Sites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E2D73E78-9B96-AB0F-A7A1-D0A81FAE11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229565D-1B1A-8969-6DB9-888A65131F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6C792A1A-9F99-3FFA-616D-12164925FD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967" y="102920"/>
            <a:ext cx="64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E136FF4A-3091-DF28-6AB1-0D556EFBE5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30FCE9-263D-A37F-F991-7B0D4C76AC99}"/>
              </a:ext>
            </a:extLst>
          </p:cNvPr>
          <p:cNvSpPr txBox="1"/>
          <p:nvPr/>
        </p:nvSpPr>
        <p:spPr>
          <a:xfrm>
            <a:off x="219598" y="146273"/>
            <a:ext cx="5876366" cy="4160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023-1  Industrial AI and Autom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50EF38-7BDD-BF6A-D0CD-55AAE90903E5}"/>
              </a:ext>
            </a:extLst>
          </p:cNvPr>
          <p:cNvSpPr txBox="1"/>
          <p:nvPr/>
        </p:nvSpPr>
        <p:spPr>
          <a:xfrm>
            <a:off x="320040" y="6187773"/>
            <a:ext cx="6096000" cy="4160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visor: Prof. Young-Keun Kim</a:t>
            </a:r>
            <a:endParaRPr lang="ko-KR" altLang="en-US" sz="1600" dirty="0">
              <a:solidFill>
                <a:prstClr val="black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F32155AF-1498-DE04-F86F-306C6D0E2ACA}"/>
              </a:ext>
            </a:extLst>
          </p:cNvPr>
          <p:cNvGrpSpPr/>
          <p:nvPr/>
        </p:nvGrpSpPr>
        <p:grpSpPr>
          <a:xfrm>
            <a:off x="4550775" y="4206122"/>
            <a:ext cx="3090384" cy="1524007"/>
            <a:chOff x="3129445" y="4345432"/>
            <a:chExt cx="3090384" cy="152400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1D29366-A8CC-02DF-12C9-E6F69FFC1275}"/>
                </a:ext>
              </a:extLst>
            </p:cNvPr>
            <p:cNvSpPr txBox="1"/>
            <p:nvPr/>
          </p:nvSpPr>
          <p:spPr>
            <a:xfrm>
              <a:off x="4330073" y="4345432"/>
              <a:ext cx="1889756" cy="15240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b="1" dirty="0">
                  <a:solidFill>
                    <a:prstClr val="black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Seok-Won Jung</a:t>
              </a:r>
            </a:p>
            <a:p>
              <a:pPr>
                <a:lnSpc>
                  <a:spcPct val="150000"/>
                </a:lnSpc>
              </a:pPr>
              <a:r>
                <a:rPr lang="en-US" altLang="ko-KR" sz="1600" b="1" dirty="0">
                  <a:solidFill>
                    <a:prstClr val="black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Tae-Woong Song</a:t>
              </a:r>
            </a:p>
            <a:p>
              <a:pPr>
                <a:lnSpc>
                  <a:spcPct val="150000"/>
                </a:lnSpc>
              </a:pPr>
              <a:r>
                <a:rPr lang="en-US" altLang="ko-KR" sz="1600" b="1" dirty="0">
                  <a:solidFill>
                    <a:prstClr val="black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Jin-Ho Kook</a:t>
              </a:r>
            </a:p>
            <a:p>
              <a:pPr>
                <a:lnSpc>
                  <a:spcPct val="150000"/>
                </a:lnSpc>
              </a:pPr>
              <a:r>
                <a:rPr lang="en-US" altLang="ko-KR" sz="1600" b="1" dirty="0">
                  <a:solidFill>
                    <a:prstClr val="black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Jae-Hyun Oh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D19E130-BB59-F8D1-D830-CCD0E6E8BB72}"/>
                </a:ext>
              </a:extLst>
            </p:cNvPr>
            <p:cNvSpPr txBox="1"/>
            <p:nvPr/>
          </p:nvSpPr>
          <p:spPr>
            <a:xfrm>
              <a:off x="3129445" y="4345432"/>
              <a:ext cx="1369947" cy="15240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600" b="1" dirty="0">
                  <a:solidFill>
                    <a:prstClr val="black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21400000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ko-KR" sz="1600" b="1" dirty="0">
                  <a:solidFill>
                    <a:prstClr val="black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21700394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ko-KR" sz="1600" b="1" dirty="0">
                  <a:solidFill>
                    <a:prstClr val="black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21800031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ko-KR" sz="1600" b="1" dirty="0">
                  <a:solidFill>
                    <a:prstClr val="black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21900000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1FD50E-7CC5-DCDA-F1C7-6D0F84F7C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C0CFA0A8-134C-04EC-C319-CEB22AE348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4030C6B5-4BF8-338F-7B57-66C01E2DF6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" name="Rectangle 2">
            <a:extLst>
              <a:ext uri="{FF2B5EF4-FFF2-40B4-BE49-F238E27FC236}">
                <a16:creationId xmlns:a16="http://schemas.microsoft.com/office/drawing/2014/main" id="{C20129F4-220B-ACF2-9CC0-26EC5F5278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CFDAB840-6901-ECCD-A5E4-71C06651F3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Rectangle 4">
            <a:extLst>
              <a:ext uri="{FF2B5EF4-FFF2-40B4-BE49-F238E27FC236}">
                <a16:creationId xmlns:a16="http://schemas.microsoft.com/office/drawing/2014/main" id="{8BA647A6-FBC4-002A-5530-12622C87F2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02001252-74AC-B887-38AA-2878DCB380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40DA98A9-321E-CC74-67B1-A870D5CE12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57AA1BEA-502E-0A93-B4FD-4DEAE40A94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1544A7DC-1EF0-2E41-BDD1-E774AC9F1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D832C10-4CB2-5B82-5B15-C261846081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Rectangle 6">
            <a:extLst>
              <a:ext uri="{FF2B5EF4-FFF2-40B4-BE49-F238E27FC236}">
                <a16:creationId xmlns:a16="http://schemas.microsoft.com/office/drawing/2014/main" id="{1BFA5858-DED0-5785-D4AA-8F29378FB6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69BF2B36-D709-72BA-C0B8-2BCF29B4F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000C1B-89EE-40A1-4A94-16B6F2800F59}"/>
              </a:ext>
            </a:extLst>
          </p:cNvPr>
          <p:cNvSpPr txBox="1"/>
          <p:nvPr/>
        </p:nvSpPr>
        <p:spPr>
          <a:xfrm>
            <a:off x="793531" y="2644170"/>
            <a:ext cx="1060493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  <a:endParaRPr lang="ko-KR" altLang="en-US" sz="8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457310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5901629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mo Video</a:t>
            </a:r>
            <a:endParaRPr lang="ko-KR" altLang="en-US" sz="24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49F04A8B-EA4D-7494-78B2-AFD1D6BEAA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79864"/>
            <a:ext cx="36870" cy="97471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0334692A-D46E-0B0D-9175-4D03EDE769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Rectangle 10">
            <a:extLst>
              <a:ext uri="{FF2B5EF4-FFF2-40B4-BE49-F238E27FC236}">
                <a16:creationId xmlns:a16="http://schemas.microsoft.com/office/drawing/2014/main" id="{624D3B3E-5C40-2CB8-2659-6704D5F306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Rectangle 11">
            <a:extLst>
              <a:ext uri="{FF2B5EF4-FFF2-40B4-BE49-F238E27FC236}">
                <a16:creationId xmlns:a16="http://schemas.microsoft.com/office/drawing/2014/main" id="{5DA43C6A-EB17-FFD5-2286-02D97EA1A3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13CD5779-9813-00B6-80EC-F7F2E3A99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CFB6719C-6AC7-F7FB-2F35-D53D53956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D4AE196-E1B0-C563-7D51-4B2DEEB270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A5C5E832-3498-D314-0A2B-CA945BF0B4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1" name="Rectangle 1">
            <a:extLst>
              <a:ext uri="{FF2B5EF4-FFF2-40B4-BE49-F238E27FC236}">
                <a16:creationId xmlns:a16="http://schemas.microsoft.com/office/drawing/2014/main" id="{C1950E3C-709A-8311-8066-B3F8F8DF88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35" name="Rectangle 2">
            <a:extLst>
              <a:ext uri="{FF2B5EF4-FFF2-40B4-BE49-F238E27FC236}">
                <a16:creationId xmlns:a16="http://schemas.microsoft.com/office/drawing/2014/main" id="{0C378FAE-BD91-5F7E-3EBD-F43DC3B5F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36" name="Rectangle 3">
            <a:extLst>
              <a:ext uri="{FF2B5EF4-FFF2-40B4-BE49-F238E27FC236}">
                <a16:creationId xmlns:a16="http://schemas.microsoft.com/office/drawing/2014/main" id="{752C3870-7044-729D-91DA-8A3C333783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37" name="Rectangle 4">
            <a:extLst>
              <a:ext uri="{FF2B5EF4-FFF2-40B4-BE49-F238E27FC236}">
                <a16:creationId xmlns:a16="http://schemas.microsoft.com/office/drawing/2014/main" id="{61AC5266-2925-9B46-B677-4CC388CB8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38" name="Rectangle 5">
            <a:extLst>
              <a:ext uri="{FF2B5EF4-FFF2-40B4-BE49-F238E27FC236}">
                <a16:creationId xmlns:a16="http://schemas.microsoft.com/office/drawing/2014/main" id="{E250F344-F035-326D-3774-0D0F905F5F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" name="IAIA_Project2_demo">
            <a:hlinkClick r:id="" action="ppaction://media"/>
            <a:extLst>
              <a:ext uri="{FF2B5EF4-FFF2-40B4-BE49-F238E27FC236}">
                <a16:creationId xmlns:a16="http://schemas.microsoft.com/office/drawing/2014/main" id="{A1B2F8A2-00FE-ED2F-31BE-570FC9A8970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2181509" y="1255954"/>
            <a:ext cx="7828981" cy="44038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CA76DF3-8346-92FF-558E-1E72A8AD8D17}"/>
              </a:ext>
            </a:extLst>
          </p:cNvPr>
          <p:cNvSpPr txBox="1"/>
          <p:nvPr/>
        </p:nvSpPr>
        <p:spPr>
          <a:xfrm>
            <a:off x="3118307" y="5897871"/>
            <a:ext cx="6094206" cy="456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800" b="1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otion Tracking / Precise Parsing Demo Video</a:t>
            </a:r>
          </a:p>
        </p:txBody>
      </p:sp>
    </p:spTree>
    <p:extLst>
      <p:ext uri="{BB962C8B-B14F-4D97-AF65-F5344CB8AC3E}">
        <p14:creationId xmlns:p14="http://schemas.microsoft.com/office/powerpoint/2010/main" val="2829785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2718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  <p:extLst>
    <p:ext uri="{6950BFC3-D8DA-4A85-94F7-54DA5524770B}">
      <p188:commentRel xmlns:p188="http://schemas.microsoft.com/office/powerpoint/2018/8/main" r:id="rId5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5901629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ko-KR" alt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49F04A8B-EA4D-7494-78B2-AFD1D6BEAA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79864"/>
            <a:ext cx="28854" cy="97471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0334692A-D46E-0B0D-9175-4D03EDE769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0">
            <a:extLst>
              <a:ext uri="{FF2B5EF4-FFF2-40B4-BE49-F238E27FC236}">
                <a16:creationId xmlns:a16="http://schemas.microsoft.com/office/drawing/2014/main" id="{624D3B3E-5C40-2CB8-2659-6704D5F306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11">
            <a:extLst>
              <a:ext uri="{FF2B5EF4-FFF2-40B4-BE49-F238E27FC236}">
                <a16:creationId xmlns:a16="http://schemas.microsoft.com/office/drawing/2014/main" id="{5DA43C6A-EB17-FFD5-2286-02D97EA1A3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13CD5779-9813-00B6-80EC-F7F2E3A99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CFB6719C-6AC7-F7FB-2F35-D53D53956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D4AE196-E1B0-C563-7D51-4B2DEEB270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A5C5E832-3498-D314-0A2B-CA945BF0B4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육각형 1">
            <a:extLst>
              <a:ext uri="{FF2B5EF4-FFF2-40B4-BE49-F238E27FC236}">
                <a16:creationId xmlns:a16="http://schemas.microsoft.com/office/drawing/2014/main" id="{074DC48A-CE99-70C1-ACDB-D96F36201F37}"/>
              </a:ext>
            </a:extLst>
          </p:cNvPr>
          <p:cNvSpPr/>
          <p:nvPr/>
        </p:nvSpPr>
        <p:spPr>
          <a:xfrm>
            <a:off x="1406126" y="3291616"/>
            <a:ext cx="619125" cy="551859"/>
          </a:xfrm>
          <a:prstGeom prst="hexagon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ko-KR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육각형 3">
            <a:extLst>
              <a:ext uri="{FF2B5EF4-FFF2-40B4-BE49-F238E27FC236}">
                <a16:creationId xmlns:a16="http://schemas.microsoft.com/office/drawing/2014/main" id="{391EB927-DD9B-1688-AB0C-09CC030F69DB}"/>
              </a:ext>
            </a:extLst>
          </p:cNvPr>
          <p:cNvSpPr/>
          <p:nvPr/>
        </p:nvSpPr>
        <p:spPr>
          <a:xfrm>
            <a:off x="4327920" y="3291615"/>
            <a:ext cx="619125" cy="551859"/>
          </a:xfrm>
          <a:prstGeom prst="hexagon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ko-KR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육각형 5">
            <a:extLst>
              <a:ext uri="{FF2B5EF4-FFF2-40B4-BE49-F238E27FC236}">
                <a16:creationId xmlns:a16="http://schemas.microsoft.com/office/drawing/2014/main" id="{538973F2-C22F-8BA5-5026-171AD744C890}"/>
              </a:ext>
            </a:extLst>
          </p:cNvPr>
          <p:cNvSpPr/>
          <p:nvPr/>
        </p:nvSpPr>
        <p:spPr>
          <a:xfrm>
            <a:off x="7249714" y="3291616"/>
            <a:ext cx="619125" cy="551859"/>
          </a:xfrm>
          <a:prstGeom prst="hexagon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ko-KR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육각형 8">
            <a:extLst>
              <a:ext uri="{FF2B5EF4-FFF2-40B4-BE49-F238E27FC236}">
                <a16:creationId xmlns:a16="http://schemas.microsoft.com/office/drawing/2014/main" id="{59135DBF-3D97-E564-0F6D-785FEFA341B2}"/>
              </a:ext>
            </a:extLst>
          </p:cNvPr>
          <p:cNvSpPr/>
          <p:nvPr/>
        </p:nvSpPr>
        <p:spPr>
          <a:xfrm>
            <a:off x="10171508" y="3291616"/>
            <a:ext cx="619125" cy="551859"/>
          </a:xfrm>
          <a:prstGeom prst="hexagon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ko-KR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FFA6E50F-23E1-4FD2-B002-47C0EEFF3D9A}"/>
              </a:ext>
            </a:extLst>
          </p:cNvPr>
          <p:cNvSpPr/>
          <p:nvPr/>
        </p:nvSpPr>
        <p:spPr>
          <a:xfrm>
            <a:off x="2151456" y="3527100"/>
            <a:ext cx="2055019" cy="85129"/>
          </a:xfrm>
          <a:prstGeom prst="round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B196988A-7120-07DD-17A0-3DFC54D63D41}"/>
              </a:ext>
            </a:extLst>
          </p:cNvPr>
          <p:cNvSpPr/>
          <p:nvPr/>
        </p:nvSpPr>
        <p:spPr>
          <a:xfrm>
            <a:off x="5068490" y="3527100"/>
            <a:ext cx="2055019" cy="85129"/>
          </a:xfrm>
          <a:prstGeom prst="round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4CEA19E2-714E-B538-BE6F-F81C6B4DFDC4}"/>
              </a:ext>
            </a:extLst>
          </p:cNvPr>
          <p:cNvSpPr/>
          <p:nvPr/>
        </p:nvSpPr>
        <p:spPr>
          <a:xfrm>
            <a:off x="7992664" y="3527100"/>
            <a:ext cx="2055019" cy="85129"/>
          </a:xfrm>
          <a:prstGeom prst="round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CFABE9EC-8BCB-16F0-CD11-C22BB5ACE071}"/>
              </a:ext>
            </a:extLst>
          </p:cNvPr>
          <p:cNvSpPr/>
          <p:nvPr/>
        </p:nvSpPr>
        <p:spPr>
          <a:xfrm>
            <a:off x="263780" y="4384134"/>
            <a:ext cx="5632145" cy="186507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1FD58F77-9E4E-7594-2E3A-7AA97BF84094}"/>
              </a:ext>
            </a:extLst>
          </p:cNvPr>
          <p:cNvSpPr/>
          <p:nvPr/>
        </p:nvSpPr>
        <p:spPr>
          <a:xfrm>
            <a:off x="6165410" y="4383107"/>
            <a:ext cx="5770964" cy="1866100"/>
          </a:xfrm>
          <a:prstGeom prst="round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7D75CF4E-5CB0-544A-129E-ADDD137C6B15}"/>
              </a:ext>
            </a:extLst>
          </p:cNvPr>
          <p:cNvSpPr/>
          <p:nvPr/>
        </p:nvSpPr>
        <p:spPr>
          <a:xfrm>
            <a:off x="1818526" y="981423"/>
            <a:ext cx="4077399" cy="177675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B3B6E8AF-3E24-0D70-8F57-FF46126917A4}"/>
              </a:ext>
            </a:extLst>
          </p:cNvPr>
          <p:cNvSpPr/>
          <p:nvPr/>
        </p:nvSpPr>
        <p:spPr>
          <a:xfrm>
            <a:off x="6165410" y="978939"/>
            <a:ext cx="5770964" cy="1780263"/>
          </a:xfrm>
          <a:prstGeom prst="round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962A900-3517-C346-9833-7AB666F55C31}"/>
              </a:ext>
            </a:extLst>
          </p:cNvPr>
          <p:cNvSpPr txBox="1"/>
          <p:nvPr/>
        </p:nvSpPr>
        <p:spPr>
          <a:xfrm>
            <a:off x="2143303" y="1175079"/>
            <a:ext cx="3744469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yphoons, earthquakes, radioactivity, building collapse, etc</a:t>
            </a:r>
            <a:endParaRPr lang="ko-KR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1">
            <a:extLst>
              <a:ext uri="{FF2B5EF4-FFF2-40B4-BE49-F238E27FC236}">
                <a16:creationId xmlns:a16="http://schemas.microsoft.com/office/drawing/2014/main" id="{C1950E3C-709A-8311-8066-B3F8F8DF88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68CB7311-B9D0-018C-3DDD-448C84DD7412}"/>
              </a:ext>
            </a:extLst>
          </p:cNvPr>
          <p:cNvSpPr txBox="1"/>
          <p:nvPr/>
        </p:nvSpPr>
        <p:spPr>
          <a:xfrm>
            <a:off x="7970333" y="1056999"/>
            <a:ext cx="4221667" cy="15701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bstacle elimination</a:t>
            </a:r>
            <a:endParaRPr lang="en-US" altLang="ko-KR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sz="1600" i="0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ife loss during recovery 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altLang="ko-KR" sz="1600" i="0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building collapse / overwork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kumimoji="0" lang="en-US" altLang="ko-KR" sz="160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 Unicode MS"/>
                <a:ea typeface="inherit"/>
              </a:rPr>
              <a:t>Radiation exposure</a:t>
            </a:r>
            <a:r>
              <a:rPr kumimoji="0" lang="ko-KR" altLang="ko-KR" sz="50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</a:rPr>
              <a:t> </a:t>
            </a:r>
            <a:endParaRPr lang="en-US" altLang="ko-KR" sz="1600" i="0" dirty="0"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F74197E4-BF1A-3A21-E7A6-2BE7A69C231C}"/>
              </a:ext>
            </a:extLst>
          </p:cNvPr>
          <p:cNvSpPr txBox="1"/>
          <p:nvPr/>
        </p:nvSpPr>
        <p:spPr>
          <a:xfrm>
            <a:off x="2151456" y="4465671"/>
            <a:ext cx="3744469" cy="1289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mage situation identific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alysis / reporting of disaster response status</a:t>
            </a:r>
            <a:endParaRPr lang="ko-KR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D1DFD5B8-6209-2750-D074-6A52B83FA1B7}"/>
              </a:ext>
            </a:extLst>
          </p:cNvPr>
          <p:cNvSpPr txBox="1"/>
          <p:nvPr/>
        </p:nvSpPr>
        <p:spPr>
          <a:xfrm>
            <a:off x="7999332" y="4437834"/>
            <a:ext cx="3538297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ccident cause investig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tinuous management of disaster sites</a:t>
            </a:r>
            <a:endParaRPr lang="de-DE" altLang="ko-KR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5" name="Rectangle 2">
            <a:extLst>
              <a:ext uri="{FF2B5EF4-FFF2-40B4-BE49-F238E27FC236}">
                <a16:creationId xmlns:a16="http://schemas.microsoft.com/office/drawing/2014/main" id="{0C378FAE-BD91-5F7E-3EBD-F43DC3B5F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6" name="Rectangle 3">
            <a:extLst>
              <a:ext uri="{FF2B5EF4-FFF2-40B4-BE49-F238E27FC236}">
                <a16:creationId xmlns:a16="http://schemas.microsoft.com/office/drawing/2014/main" id="{752C3870-7044-729D-91DA-8A3C333783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7" name="Rectangle 4">
            <a:extLst>
              <a:ext uri="{FF2B5EF4-FFF2-40B4-BE49-F238E27FC236}">
                <a16:creationId xmlns:a16="http://schemas.microsoft.com/office/drawing/2014/main" id="{61AC5266-2925-9B46-B677-4CC388CB8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8" name="Rectangle 5">
            <a:extLst>
              <a:ext uri="{FF2B5EF4-FFF2-40B4-BE49-F238E27FC236}">
                <a16:creationId xmlns:a16="http://schemas.microsoft.com/office/drawing/2014/main" id="{E250F344-F035-326D-3774-0D0F905F5F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1" name="직사각형 1040">
            <a:extLst>
              <a:ext uri="{FF2B5EF4-FFF2-40B4-BE49-F238E27FC236}">
                <a16:creationId xmlns:a16="http://schemas.microsoft.com/office/drawing/2014/main" id="{1CC021D7-AD2B-523B-2C5A-6A38F15284D7}"/>
              </a:ext>
            </a:extLst>
          </p:cNvPr>
          <p:cNvSpPr/>
          <p:nvPr/>
        </p:nvSpPr>
        <p:spPr>
          <a:xfrm>
            <a:off x="183131" y="876303"/>
            <a:ext cx="5770964" cy="2120867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3FEAF5-902A-1FF1-341A-3BEC0A7DA6A0}"/>
              </a:ext>
            </a:extLst>
          </p:cNvPr>
          <p:cNvSpPr txBox="1"/>
          <p:nvPr/>
        </p:nvSpPr>
        <p:spPr>
          <a:xfrm>
            <a:off x="427345" y="2846347"/>
            <a:ext cx="269357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aster Occurrence</a:t>
            </a:r>
            <a:endParaRPr lang="ko-KR" alt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2" name="직사각형 1041">
            <a:extLst>
              <a:ext uri="{FF2B5EF4-FFF2-40B4-BE49-F238E27FC236}">
                <a16:creationId xmlns:a16="http://schemas.microsoft.com/office/drawing/2014/main" id="{98948C16-30CB-45CD-8BF6-F99D3D71B8CD}"/>
              </a:ext>
            </a:extLst>
          </p:cNvPr>
          <p:cNvSpPr/>
          <p:nvPr/>
        </p:nvSpPr>
        <p:spPr>
          <a:xfrm>
            <a:off x="6096000" y="900491"/>
            <a:ext cx="5901628" cy="2096679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D61A94-91E1-49AE-A2B1-600A03EF74AD}"/>
              </a:ext>
            </a:extLst>
          </p:cNvPr>
          <p:cNvSpPr txBox="1"/>
          <p:nvPr/>
        </p:nvSpPr>
        <p:spPr>
          <a:xfrm>
            <a:off x="6270933" y="2846347"/>
            <a:ext cx="257668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rieval &amp; Recovery </a:t>
            </a:r>
          </a:p>
        </p:txBody>
      </p:sp>
      <p:sp>
        <p:nvSpPr>
          <p:cNvPr id="1044" name="직사각형 1043">
            <a:extLst>
              <a:ext uri="{FF2B5EF4-FFF2-40B4-BE49-F238E27FC236}">
                <a16:creationId xmlns:a16="http://schemas.microsoft.com/office/drawing/2014/main" id="{5CD495DD-248D-5F87-92D9-865594A6E4C0}"/>
              </a:ext>
            </a:extLst>
          </p:cNvPr>
          <p:cNvSpPr/>
          <p:nvPr/>
        </p:nvSpPr>
        <p:spPr>
          <a:xfrm>
            <a:off x="194370" y="4053987"/>
            <a:ext cx="5770964" cy="2336538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60C608-F1F8-EAE1-9901-44D7E34FEFA6}"/>
              </a:ext>
            </a:extLst>
          </p:cNvPr>
          <p:cNvSpPr txBox="1"/>
          <p:nvPr/>
        </p:nvSpPr>
        <p:spPr>
          <a:xfrm>
            <a:off x="3580922" y="3859716"/>
            <a:ext cx="211311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Response </a:t>
            </a:r>
          </a:p>
        </p:txBody>
      </p:sp>
      <p:sp>
        <p:nvSpPr>
          <p:cNvPr id="1045" name="직사각형 1044">
            <a:extLst>
              <a:ext uri="{FF2B5EF4-FFF2-40B4-BE49-F238E27FC236}">
                <a16:creationId xmlns:a16="http://schemas.microsoft.com/office/drawing/2014/main" id="{2294607F-965A-EF90-D862-8928169C747F}"/>
              </a:ext>
            </a:extLst>
          </p:cNvPr>
          <p:cNvSpPr/>
          <p:nvPr/>
        </p:nvSpPr>
        <p:spPr>
          <a:xfrm>
            <a:off x="6099088" y="4053988"/>
            <a:ext cx="5898540" cy="2336538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56F337-4955-4E9D-7F24-B0223B7CE319}"/>
              </a:ext>
            </a:extLst>
          </p:cNvPr>
          <p:cNvSpPr txBox="1"/>
          <p:nvPr/>
        </p:nvSpPr>
        <p:spPr>
          <a:xfrm>
            <a:off x="9424510" y="3859716"/>
            <a:ext cx="211311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aster Relief 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4807593C-8C5B-A37D-B0E8-70056BE14D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92D5BDAC-2A1C-0E2D-7A52-D955A1DBE3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E8B471B6-BFBA-7699-461F-5EC3780D74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3" name="Picture 5" descr="실시간 인도네시아 뉴스 - 데일리 인도네시아 – 한국 정부·기업, 빨루 재난현장 구호 이어져">
            <a:extLst>
              <a:ext uri="{FF2B5EF4-FFF2-40B4-BE49-F238E27FC236}">
                <a16:creationId xmlns:a16="http://schemas.microsoft.com/office/drawing/2014/main" id="{3D7852A0-09B2-ABB2-2D77-5E1A255F8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27" y="1007460"/>
            <a:ext cx="1767600" cy="1750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동부소방서, 고층건물 재난초기 대응훈련 &lt; 일반 &lt; 사람들 &lt; 기사본문 - 울산신문">
            <a:extLst>
              <a:ext uri="{FF2B5EF4-FFF2-40B4-BE49-F238E27FC236}">
                <a16:creationId xmlns:a16="http://schemas.microsoft.com/office/drawing/2014/main" id="{6E0E7DDC-A9AA-14CF-9DAA-87AA1AF16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780" y="4384134"/>
            <a:ext cx="1753922" cy="1865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현대重, 터키 지진피해에 재난 복구 건설장비 지원 &lt; 기업/무역 &lt; 경제 &lt; 기사본문 - 경상일보">
            <a:extLst>
              <a:ext uri="{FF2B5EF4-FFF2-40B4-BE49-F238E27FC236}">
                <a16:creationId xmlns:a16="http://schemas.microsoft.com/office/drawing/2014/main" id="{4E73070F-DC3B-15CD-864E-227E5E1D1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5410" y="978938"/>
            <a:ext cx="1767600" cy="177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">
            <a:extLst>
              <a:ext uri="{FF2B5EF4-FFF2-40B4-BE49-F238E27FC236}">
                <a16:creationId xmlns:a16="http://schemas.microsoft.com/office/drawing/2014/main" id="{A8EF2235-71D6-D962-7D34-D46E647270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0268EF6B-52CD-AFAA-553B-CEDD5B0155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5411" y="4404434"/>
            <a:ext cx="1703428" cy="1830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35134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모서리가 둥근 직사각형 7">
            <a:extLst>
              <a:ext uri="{FF2B5EF4-FFF2-40B4-BE49-F238E27FC236}">
                <a16:creationId xmlns:a16="http://schemas.microsoft.com/office/drawing/2014/main" id="{AB406C40-3798-3218-BD4E-9EBE83EB0466}"/>
              </a:ext>
            </a:extLst>
          </p:cNvPr>
          <p:cNvSpPr/>
          <p:nvPr/>
        </p:nvSpPr>
        <p:spPr>
          <a:xfrm>
            <a:off x="422745" y="1060465"/>
            <a:ext cx="11346510" cy="546342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5901629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ko-KR" alt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AutoShape 2">
            <a:extLst>
              <a:ext uri="{FF2B5EF4-FFF2-40B4-BE49-F238E27FC236}">
                <a16:creationId xmlns:a16="http://schemas.microsoft.com/office/drawing/2014/main" id="{48304149-7C1D-FB09-FFC4-9315ACBC5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6" y="942802"/>
            <a:ext cx="2567198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roject Goal</a:t>
            </a: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49F04A8B-EA4D-7494-78B2-AFD1D6BEAA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79864"/>
            <a:ext cx="28854" cy="97471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0334692A-D46E-0B0D-9175-4D03EDE769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0">
            <a:extLst>
              <a:ext uri="{FF2B5EF4-FFF2-40B4-BE49-F238E27FC236}">
                <a16:creationId xmlns:a16="http://schemas.microsoft.com/office/drawing/2014/main" id="{624D3B3E-5C40-2CB8-2659-6704D5F306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11">
            <a:extLst>
              <a:ext uri="{FF2B5EF4-FFF2-40B4-BE49-F238E27FC236}">
                <a16:creationId xmlns:a16="http://schemas.microsoft.com/office/drawing/2014/main" id="{5DA43C6A-EB17-FFD5-2286-02D97EA1A3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13CD5779-9813-00B6-80EC-F7F2E3A992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CFB6719C-6AC7-F7FB-2F35-D53D53956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D4AE196-E1B0-C563-7D51-4B2DEEB270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A5C5E832-3498-D314-0A2B-CA945BF0B4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직사각형 125">
                <a:extLst>
                  <a:ext uri="{FF2B5EF4-FFF2-40B4-BE49-F238E27FC236}">
                    <a16:creationId xmlns:a16="http://schemas.microsoft.com/office/drawing/2014/main" id="{CB1826E1-4FC3-7091-F4E9-0F5DAD45F7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41107" y="2541009"/>
                <a:ext cx="5726872" cy="21334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marL="285750" indent="-285750" latinLnBrk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1pPr>
                <a:lvl2pPr marL="742950" indent="-285750" latinLnBrk="1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2pPr>
                <a:lvl3pPr marL="1143000" indent="-228600" latinLnBrk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3pPr>
                <a:lvl4pPr marL="1600200" indent="-228600" latinLnBrk="1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4pPr>
                <a:lvl5pPr marL="2057400" indent="-228600" latinLnBrk="1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9pPr>
              </a:lstStyle>
              <a:p>
                <a:pPr marL="0" indent="0">
                  <a:lnSpc>
                    <a:spcPct val="200000"/>
                  </a:lnSpc>
                  <a:buNone/>
                </a:pPr>
                <a:r>
                  <a:rPr lang="en-US" altLang="ko-KR" sz="1600" b="1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1) Vision sensor- based motion tracking control </a:t>
                </a:r>
              </a:p>
              <a:p>
                <a:pPr>
                  <a:lnSpc>
                    <a:spcPct val="200000"/>
                  </a:lnSpc>
                </a:pPr>
                <a:r>
                  <a:rPr lang="en-US" altLang="ko-KR" sz="1600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Relative angle error within 10</a:t>
                </a:r>
                <a14:m>
                  <m:oMath xmlns:m="http://schemas.openxmlformats.org/officeDocument/2006/math">
                    <m:r>
                      <a:rPr lang="en-US" altLang="ko-KR" sz="1600" b="0" i="1" dirty="0" smtClean="0">
                        <a:solidFill>
                          <a:srgbClr val="202124"/>
                        </a:solidFill>
                        <a:latin typeface="Cambria Math" panose="02040503050406030204" pitchFamily="18" charset="0"/>
                        <a:ea typeface="inherit"/>
                        <a:cs typeface="Arial" panose="020B0604020202020204" pitchFamily="34" charset="0"/>
                      </a:rPr>
                      <m:t>°</m:t>
                    </m:r>
                  </m:oMath>
                </a14:m>
                <a:r>
                  <a:rPr lang="en-US" altLang="ko-KR" sz="1600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 </a:t>
                </a:r>
              </a:p>
              <a:p>
                <a:pPr marL="0" indent="0">
                  <a:lnSpc>
                    <a:spcPct val="200000"/>
                  </a:lnSpc>
                  <a:buNone/>
                </a:pPr>
                <a:r>
                  <a:rPr lang="en-US" altLang="ko-KR" sz="1600" b="1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2) Vision sensor-based robot end-effector angle control </a:t>
                </a:r>
              </a:p>
              <a:p>
                <a:pPr>
                  <a:lnSpc>
                    <a:spcPct val="200000"/>
                  </a:lnSpc>
                </a:pPr>
                <a:endParaRPr lang="en-US" altLang="ko-KR" sz="1600" dirty="0">
                  <a:solidFill>
                    <a:srgbClr val="202124"/>
                  </a:solidFill>
                  <a:latin typeface="Arial" panose="020B0604020202020204" pitchFamily="34" charset="0"/>
                  <a:ea typeface="inherit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3" name="직사각형 125">
                <a:extLst>
                  <a:ext uri="{FF2B5EF4-FFF2-40B4-BE49-F238E27FC236}">
                    <a16:creationId xmlns:a16="http://schemas.microsoft.com/office/drawing/2014/main" id="{CB1826E1-4FC3-7091-F4E9-0F5DAD45F7D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941107" y="2541009"/>
                <a:ext cx="5726872" cy="2133405"/>
              </a:xfrm>
              <a:prstGeom prst="rect">
                <a:avLst/>
              </a:prstGeom>
              <a:blipFill>
                <a:blip r:embed="rId4"/>
                <a:stretch>
                  <a:fillRect l="-639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5F6CB5D9-EF84-94FF-1464-63736AA62348}"/>
              </a:ext>
            </a:extLst>
          </p:cNvPr>
          <p:cNvSpPr txBox="1"/>
          <p:nvPr/>
        </p:nvSpPr>
        <p:spPr>
          <a:xfrm>
            <a:off x="5853720" y="1955651"/>
            <a:ext cx="5825445" cy="5079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latinLnBrk="0">
              <a:lnSpc>
                <a:spcPct val="200000"/>
              </a:lnSpc>
              <a:spcBef>
                <a:spcPts val="0"/>
              </a:spcBef>
              <a:buNone/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○ </a:t>
            </a:r>
            <a:r>
              <a:rPr lang="en-US" altLang="ko-KR" sz="16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obot system for motion tracking and precise parsing </a:t>
            </a:r>
            <a:endParaRPr lang="en-US" altLang="ko-KR" sz="16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9E97F04-8EE7-5048-61AA-33A8F6805887}"/>
                  </a:ext>
                </a:extLst>
              </p:cNvPr>
              <p:cNvSpPr txBox="1"/>
              <p:nvPr/>
            </p:nvSpPr>
            <p:spPr>
              <a:xfrm>
                <a:off x="524021" y="4701425"/>
                <a:ext cx="5207683" cy="50975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 algn="ctr" latinLnBrk="0">
                  <a:lnSpc>
                    <a:spcPct val="200000"/>
                  </a:lnSpc>
                  <a:spcBef>
                    <a:spcPts val="0"/>
                  </a:spcBef>
                  <a:buNone/>
                  <a:defRPr/>
                </a:pPr>
                <a14:m>
                  <m:oMath xmlns:m="http://schemas.openxmlformats.org/officeDocument/2006/math">
                    <m:r>
                      <a:rPr lang="en-US" altLang="ko-KR" sz="1600" b="1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→</m:t>
                    </m:r>
                  </m:oMath>
                </a14:m>
                <a:r>
                  <a:rPr lang="en-US" altLang="ko-KR" sz="1600" b="1" dirty="0"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 Debris removal system using a robot is required</a:t>
                </a:r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9E97F04-8EE7-5048-61AA-33A8F68058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021" y="4701425"/>
                <a:ext cx="5207683" cy="509755"/>
              </a:xfrm>
              <a:prstGeom prst="rect">
                <a:avLst/>
              </a:prstGeom>
              <a:blipFill>
                <a:blip r:embed="rId5"/>
                <a:stretch>
                  <a:fillRect b="-14286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" name="모서리가 둥근 직사각형 7">
            <a:extLst>
              <a:ext uri="{FF2B5EF4-FFF2-40B4-BE49-F238E27FC236}">
                <a16:creationId xmlns:a16="http://schemas.microsoft.com/office/drawing/2014/main" id="{3438CC36-3B84-911A-2A5B-20D6F960249A}"/>
              </a:ext>
            </a:extLst>
          </p:cNvPr>
          <p:cNvSpPr/>
          <p:nvPr/>
        </p:nvSpPr>
        <p:spPr>
          <a:xfrm>
            <a:off x="572180" y="1746248"/>
            <a:ext cx="5066620" cy="4051287"/>
          </a:xfrm>
          <a:prstGeom prst="rect">
            <a:avLst/>
          </a:prstGeom>
          <a:noFill/>
          <a:ln w="9525">
            <a:solidFill>
              <a:schemeClr val="accent1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06E95EB5-538C-90D4-A52E-2894DD1AEC42}"/>
              </a:ext>
            </a:extLst>
          </p:cNvPr>
          <p:cNvSpPr/>
          <p:nvPr/>
        </p:nvSpPr>
        <p:spPr>
          <a:xfrm>
            <a:off x="557728" y="1660218"/>
            <a:ext cx="1740598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ea typeface="현대하모니 B" panose="02020603020101020101" pitchFamily="18" charset="-127"/>
                <a:cs typeface="Arial" panose="020B0604020202020204" pitchFamily="34" charset="0"/>
              </a:rPr>
              <a:t>Problems</a:t>
            </a:r>
            <a:endParaRPr lang="ko-KR" altLang="en-US" sz="1600" dirty="0">
              <a:latin typeface="Arial" panose="020B0604020202020204" pitchFamily="34" charset="0"/>
              <a:ea typeface="현대하모니 B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37" name="모서리가 둥근 직사각형 7">
            <a:extLst>
              <a:ext uri="{FF2B5EF4-FFF2-40B4-BE49-F238E27FC236}">
                <a16:creationId xmlns:a16="http://schemas.microsoft.com/office/drawing/2014/main" id="{347CF754-700F-51D5-9A3D-0B4FA39DA084}"/>
              </a:ext>
            </a:extLst>
          </p:cNvPr>
          <p:cNvSpPr/>
          <p:nvPr/>
        </p:nvSpPr>
        <p:spPr>
          <a:xfrm>
            <a:off x="5788234" y="1746248"/>
            <a:ext cx="5846038" cy="4051287"/>
          </a:xfrm>
          <a:prstGeom prst="rect">
            <a:avLst/>
          </a:prstGeom>
          <a:noFill/>
          <a:ln w="9525">
            <a:solidFill>
              <a:schemeClr val="accent1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0E67988-C91E-7F94-A6DD-B717C28FB94F}"/>
              </a:ext>
            </a:extLst>
          </p:cNvPr>
          <p:cNvSpPr/>
          <p:nvPr/>
        </p:nvSpPr>
        <p:spPr>
          <a:xfrm>
            <a:off x="5788235" y="1660218"/>
            <a:ext cx="1740598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ea typeface="현대하모니 B" panose="02020603020101020101" pitchFamily="18" charset="-127"/>
                <a:cs typeface="Arial" panose="020B0604020202020204" pitchFamily="34" charset="0"/>
              </a:rPr>
              <a:t>Goal</a:t>
            </a:r>
            <a:endParaRPr lang="ko-KR" altLang="en-US" sz="1600" dirty="0">
              <a:latin typeface="Arial" panose="020B0604020202020204" pitchFamily="34" charset="0"/>
              <a:ea typeface="현대하모니 B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31BEB2-CB4C-AF71-B5C8-5653427534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8417A213-4D49-67BF-9D59-91698A8156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5F2649A9-9E7D-7B26-2A6C-1E580BD720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0502" y="2414550"/>
            <a:ext cx="4668186" cy="2259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61976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991C9B09-1030-C78E-0E56-856C40ED1406}"/>
              </a:ext>
            </a:extLst>
          </p:cNvPr>
          <p:cNvSpPr/>
          <p:nvPr/>
        </p:nvSpPr>
        <p:spPr>
          <a:xfrm>
            <a:off x="8933566" y="2631294"/>
            <a:ext cx="2488652" cy="839894"/>
          </a:xfrm>
          <a:prstGeom prst="round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사각형: 둥근 모서리 16">
            <a:extLst>
              <a:ext uri="{FF2B5EF4-FFF2-40B4-BE49-F238E27FC236}">
                <a16:creationId xmlns:a16="http://schemas.microsoft.com/office/drawing/2014/main" id="{D932DA87-D473-567B-6D8C-C9E2D644ECFC}"/>
              </a:ext>
            </a:extLst>
          </p:cNvPr>
          <p:cNvSpPr/>
          <p:nvPr/>
        </p:nvSpPr>
        <p:spPr>
          <a:xfrm>
            <a:off x="781760" y="3183446"/>
            <a:ext cx="2488652" cy="839894"/>
          </a:xfrm>
          <a:prstGeom prst="round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B699B585-E9BC-E510-3202-43A109A58BCF}"/>
              </a:ext>
            </a:extLst>
          </p:cNvPr>
          <p:cNvSpPr/>
          <p:nvPr/>
        </p:nvSpPr>
        <p:spPr>
          <a:xfrm>
            <a:off x="781760" y="2136896"/>
            <a:ext cx="2488652" cy="839894"/>
          </a:xfrm>
          <a:prstGeom prst="round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모서리가 둥근 직사각형 7">
            <a:extLst>
              <a:ext uri="{FF2B5EF4-FFF2-40B4-BE49-F238E27FC236}">
                <a16:creationId xmlns:a16="http://schemas.microsoft.com/office/drawing/2014/main" id="{4A0DBFEA-D19A-BD95-B0E8-22BC0D8E949D}"/>
              </a:ext>
            </a:extLst>
          </p:cNvPr>
          <p:cNvSpPr/>
          <p:nvPr/>
        </p:nvSpPr>
        <p:spPr>
          <a:xfrm>
            <a:off x="422745" y="1060465"/>
            <a:ext cx="11346510" cy="546342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Contents	</a:t>
            </a:r>
            <a:endParaRPr lang="ko-KR" alt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DFD3803A-2D3A-C225-BAEF-F0C3220BD9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5D1C3A23-DDA5-4B38-E0C5-A298145AB23A}"/>
              </a:ext>
            </a:extLst>
          </p:cNvPr>
          <p:cNvSpPr/>
          <p:nvPr/>
        </p:nvSpPr>
        <p:spPr>
          <a:xfrm>
            <a:off x="662260" y="1592360"/>
            <a:ext cx="2080939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Algorithm Flow</a:t>
            </a:r>
            <a:endParaRPr lang="ko-KR" altLang="en-US" sz="1600" dirty="0">
              <a:latin typeface="Arial" panose="020B0604020202020204" pitchFamily="34" charset="0"/>
              <a:ea typeface="현대하모니 B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26" name="Rectangle 4">
            <a:extLst>
              <a:ext uri="{FF2B5EF4-FFF2-40B4-BE49-F238E27FC236}">
                <a16:creationId xmlns:a16="http://schemas.microsoft.com/office/drawing/2014/main" id="{F28B0F15-5785-5AE1-90ED-41C74EA74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AutoShape 2">
            <a:extLst>
              <a:ext uri="{FF2B5EF4-FFF2-40B4-BE49-F238E27FC236}">
                <a16:creationId xmlns:a16="http://schemas.microsoft.com/office/drawing/2014/main" id="{11C43E80-035B-0377-0182-E77B7DF20E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3" y="942802"/>
            <a:ext cx="6003667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obot system for motion tracking and precise pars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CABD39-545D-5FC4-9F20-C07B5A6E2E18}"/>
              </a:ext>
            </a:extLst>
          </p:cNvPr>
          <p:cNvSpPr txBox="1"/>
          <p:nvPr/>
        </p:nvSpPr>
        <p:spPr>
          <a:xfrm>
            <a:off x="800223" y="2188292"/>
            <a:ext cx="2451725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b="1" dirty="0">
                <a:latin typeface="Arial" panose="020B0604020202020204" pitchFamily="34" charset="0"/>
                <a:cs typeface="Arial" panose="020B0604020202020204" pitchFamily="34" charset="0"/>
              </a:rPr>
              <a:t>1-1) Image Processing for Motion Track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CAE222-3192-D015-CF42-80863607E147}"/>
              </a:ext>
            </a:extLst>
          </p:cNvPr>
          <p:cNvSpPr txBox="1"/>
          <p:nvPr/>
        </p:nvSpPr>
        <p:spPr>
          <a:xfrm>
            <a:off x="800223" y="3250617"/>
            <a:ext cx="2451725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b="1" dirty="0">
                <a:latin typeface="Arial" panose="020B0604020202020204" pitchFamily="34" charset="0"/>
                <a:cs typeface="Arial" panose="020B0604020202020204" pitchFamily="34" charset="0"/>
              </a:rPr>
              <a:t>1-2) Image Processing for Catching Debris</a:t>
            </a: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8D60487C-0BEF-B6DB-AE92-46339334D685}"/>
              </a:ext>
            </a:extLst>
          </p:cNvPr>
          <p:cNvSpPr/>
          <p:nvPr/>
        </p:nvSpPr>
        <p:spPr>
          <a:xfrm>
            <a:off x="4453067" y="2012325"/>
            <a:ext cx="3322235" cy="1892347"/>
          </a:xfrm>
          <a:prstGeom prst="round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CFFB0-D8FB-10C9-1DA4-D207B3263458}"/>
              </a:ext>
            </a:extLst>
          </p:cNvPr>
          <p:cNvSpPr txBox="1"/>
          <p:nvPr/>
        </p:nvSpPr>
        <p:spPr>
          <a:xfrm>
            <a:off x="4453067" y="2065548"/>
            <a:ext cx="3285866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b="1" dirty="0">
                <a:latin typeface="Arial" panose="020B0604020202020204" pitchFamily="34" charset="0"/>
                <a:cs typeface="Arial" panose="020B0604020202020204" pitchFamily="34" charset="0"/>
              </a:rPr>
              <a:t>3) Robot Contro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00DFC3F-D37A-D9CC-0390-4047C339B956}"/>
              </a:ext>
            </a:extLst>
          </p:cNvPr>
          <p:cNvSpPr txBox="1"/>
          <p:nvPr/>
        </p:nvSpPr>
        <p:spPr>
          <a:xfrm>
            <a:off x="4843479" y="2534108"/>
            <a:ext cx="3285866" cy="1021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- Mode 1 for Moving to Debris</a:t>
            </a:r>
          </a:p>
          <a:p>
            <a:pPr>
              <a:lnSpc>
                <a:spcPct val="150000"/>
              </a:lnSpc>
            </a:pPr>
            <a:endParaRPr lang="en-US" altLang="ko-KR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- Mode 2 for Cleaning Debri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9E3D53A-6956-8CD8-583A-206C5F053076}"/>
              </a:ext>
            </a:extLst>
          </p:cNvPr>
          <p:cNvSpPr txBox="1"/>
          <p:nvPr/>
        </p:nvSpPr>
        <p:spPr>
          <a:xfrm>
            <a:off x="9000976" y="2689692"/>
            <a:ext cx="2356495" cy="6987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400" b="1" dirty="0">
                <a:latin typeface="Arial" panose="020B0604020202020204" pitchFamily="34" charset="0"/>
                <a:cs typeface="Arial" panose="020B0604020202020204" pitchFamily="34" charset="0"/>
              </a:rPr>
              <a:t>2) Data Acquisition </a:t>
            </a:r>
          </a:p>
          <a:p>
            <a:pPr algn="ctr">
              <a:lnSpc>
                <a:spcPct val="150000"/>
              </a:lnSpc>
            </a:pPr>
            <a:r>
              <a:rPr lang="en-US" altLang="ko-KR" sz="1400" b="1" dirty="0">
                <a:latin typeface="Arial" panose="020B0604020202020204" pitchFamily="34" charset="0"/>
                <a:cs typeface="Arial" panose="020B0604020202020204" pitchFamily="34" charset="0"/>
              </a:rPr>
              <a:t>From Arduino</a:t>
            </a:r>
          </a:p>
        </p:txBody>
      </p:sp>
      <p:cxnSp>
        <p:nvCxnSpPr>
          <p:cNvPr id="28" name="직선 화살표 연결선 27">
            <a:extLst>
              <a:ext uri="{FF2B5EF4-FFF2-40B4-BE49-F238E27FC236}">
                <a16:creationId xmlns:a16="http://schemas.microsoft.com/office/drawing/2014/main" id="{C6F8503F-0210-8593-B3B4-DAB38B322621}"/>
              </a:ext>
            </a:extLst>
          </p:cNvPr>
          <p:cNvCxnSpPr>
            <a:cxnSpLocks/>
            <a:stCxn id="24" idx="3"/>
            <a:endCxn id="40" idx="1"/>
          </p:cNvCxnSpPr>
          <p:nvPr/>
        </p:nvCxnSpPr>
        <p:spPr>
          <a:xfrm>
            <a:off x="3270412" y="2556843"/>
            <a:ext cx="1456575" cy="197290"/>
          </a:xfrm>
          <a:prstGeom prst="bent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4BF4D5D2-1D8B-A052-34BB-F1BFCCE81F5C}"/>
              </a:ext>
            </a:extLst>
          </p:cNvPr>
          <p:cNvSpPr/>
          <p:nvPr/>
        </p:nvSpPr>
        <p:spPr>
          <a:xfrm>
            <a:off x="4726987" y="2493658"/>
            <a:ext cx="2822135" cy="520949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B4563505-357B-B59F-5C5B-FD1831B76B15}"/>
              </a:ext>
            </a:extLst>
          </p:cNvPr>
          <p:cNvSpPr/>
          <p:nvPr/>
        </p:nvSpPr>
        <p:spPr>
          <a:xfrm>
            <a:off x="4726987" y="3121951"/>
            <a:ext cx="2822135" cy="520949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3" name="직선 화살표 연결선 42">
            <a:extLst>
              <a:ext uri="{FF2B5EF4-FFF2-40B4-BE49-F238E27FC236}">
                <a16:creationId xmlns:a16="http://schemas.microsoft.com/office/drawing/2014/main" id="{7891010D-22C5-4FA1-A43F-36375808772B}"/>
              </a:ext>
            </a:extLst>
          </p:cNvPr>
          <p:cNvCxnSpPr>
            <a:cxnSpLocks/>
            <a:stCxn id="17" idx="3"/>
            <a:endCxn id="41" idx="1"/>
          </p:cNvCxnSpPr>
          <p:nvPr/>
        </p:nvCxnSpPr>
        <p:spPr>
          <a:xfrm flipV="1">
            <a:off x="3270412" y="3382426"/>
            <a:ext cx="1456575" cy="220967"/>
          </a:xfrm>
          <a:prstGeom prst="bent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화살표 연결선 47">
            <a:extLst>
              <a:ext uri="{FF2B5EF4-FFF2-40B4-BE49-F238E27FC236}">
                <a16:creationId xmlns:a16="http://schemas.microsoft.com/office/drawing/2014/main" id="{DBA94277-4031-6EC1-16C6-A65F2966652B}"/>
              </a:ext>
            </a:extLst>
          </p:cNvPr>
          <p:cNvCxnSpPr>
            <a:cxnSpLocks/>
            <a:stCxn id="18" idx="1"/>
            <a:endCxn id="40" idx="3"/>
          </p:cNvCxnSpPr>
          <p:nvPr/>
        </p:nvCxnSpPr>
        <p:spPr>
          <a:xfrm rot="10800000">
            <a:off x="7549122" y="2754133"/>
            <a:ext cx="1384444" cy="297108"/>
          </a:xfrm>
          <a:prstGeom prst="bent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화살표 연결선 47">
            <a:extLst>
              <a:ext uri="{FF2B5EF4-FFF2-40B4-BE49-F238E27FC236}">
                <a16:creationId xmlns:a16="http://schemas.microsoft.com/office/drawing/2014/main" id="{425B248A-1263-6C79-F107-9D86E4E6FC45}"/>
              </a:ext>
            </a:extLst>
          </p:cNvPr>
          <p:cNvCxnSpPr>
            <a:cxnSpLocks/>
            <a:stCxn id="18" idx="1"/>
            <a:endCxn id="41" idx="3"/>
          </p:cNvCxnSpPr>
          <p:nvPr/>
        </p:nvCxnSpPr>
        <p:spPr>
          <a:xfrm rot="10800000" flipV="1">
            <a:off x="7549122" y="3051240"/>
            <a:ext cx="1384444" cy="331185"/>
          </a:xfrm>
          <a:prstGeom prst="bentConnector3">
            <a:avLst>
              <a:gd name="adj1" fmla="val 50000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C52FA4D1-BB22-F891-09EA-B73CBE9C49E7}"/>
                  </a:ext>
                </a:extLst>
              </p:cNvPr>
              <p:cNvSpPr txBox="1"/>
              <p:nvPr/>
            </p:nvSpPr>
            <p:spPr>
              <a:xfrm>
                <a:off x="3202987" y="2166862"/>
                <a:ext cx="152400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4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altLang="ko-KR" sz="1400" i="1" smtClean="0">
                            <a:latin typeface="Cambria Math" panose="02040503050406030204" pitchFamily="18" charset="0"/>
                          </a:rPr>
                          <m:t>𝑟𝑜𝑏</m:t>
                        </m:r>
                      </m:sub>
                    </m:sSub>
                  </m:oMath>
                </a14:m>
                <a:r>
                  <a:rPr lang="ko-KR" altLang="en-US" sz="14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altLang="ko-KR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lang="en-US" altLang="ko-KR" sz="14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40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altLang="ko-KR" sz="1400" i="1">
                            <a:latin typeface="Cambria Math" panose="02040503050406030204" pitchFamily="18" charset="0"/>
                          </a:rPr>
                          <m:t>𝑟𝑜𝑏</m:t>
                        </m:r>
                      </m:sub>
                    </m:sSub>
                  </m:oMath>
                </a14:m>
                <a:endParaRPr lang="ko-KR" altLang="en-US" sz="1400" i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C52FA4D1-BB22-F891-09EA-B73CBE9C49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02987" y="2166862"/>
                <a:ext cx="1524000" cy="307777"/>
              </a:xfrm>
              <a:prstGeom prst="rect">
                <a:avLst/>
              </a:prstGeom>
              <a:blipFill>
                <a:blip r:embed="rId4"/>
                <a:stretch>
                  <a:fillRect t="-1961" b="-1960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F07A9DB-4823-95EE-EB30-DF6226074B92}"/>
                  </a:ext>
                </a:extLst>
              </p:cNvPr>
              <p:cNvSpPr txBox="1"/>
              <p:nvPr/>
            </p:nvSpPr>
            <p:spPr>
              <a:xfrm>
                <a:off x="3265614" y="3648484"/>
                <a:ext cx="147758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400" i="1" smtClean="0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400" i="1">
                            <a:latin typeface="Cambria Math" panose="02040503050406030204" pitchFamily="18" charset="0"/>
                          </a:rPr>
                          <m:t>end</m:t>
                        </m:r>
                      </m:sub>
                    </m:sSub>
                    <m:r>
                      <a:rPr lang="en-US" altLang="ko-KR" sz="14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ko-KR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/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40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altLang="ko-KR" sz="140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𝑆</m:t>
                        </m:r>
                      </m:e>
                      <m:sub>
                        <m:r>
                          <a:rPr lang="en-US" altLang="ko-KR" sz="1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𝑐𝑎𝑡𝑐h</m:t>
                        </m:r>
                      </m:sub>
                    </m:sSub>
                    <m:r>
                      <a:rPr lang="en-US" altLang="ko-KR" sz="1400" b="0" i="1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</m:oMath>
                </a14:m>
                <a:r>
                  <a:rPr lang="en-US" altLang="ko-KR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endParaRPr lang="ko-KR" alt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F07A9DB-4823-95EE-EB30-DF6226074B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65614" y="3648484"/>
                <a:ext cx="1477582" cy="307777"/>
              </a:xfrm>
              <a:prstGeom prst="rect">
                <a:avLst/>
              </a:prstGeom>
              <a:blipFill>
                <a:blip r:embed="rId5"/>
                <a:stretch>
                  <a:fillRect t="-4000" b="-20000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BBA2A01B-3848-D3B5-7448-263807843BA6}"/>
                  </a:ext>
                </a:extLst>
              </p:cNvPr>
              <p:cNvSpPr txBox="1"/>
              <p:nvPr/>
            </p:nvSpPr>
            <p:spPr>
              <a:xfrm>
                <a:off x="7501382" y="3429000"/>
                <a:ext cx="152400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ko-KR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R" sz="1400" i="1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n-US" altLang="ko-KR" sz="1400" i="1">
                              <a:latin typeface="Cambria Math" panose="02040503050406030204" pitchFamily="18" charset="0"/>
                            </a:rPr>
                            <m:t>𝑑𝑒𝑏</m:t>
                          </m:r>
                        </m:sub>
                      </m:sSub>
                      <m:r>
                        <a:rPr lang="en-US" altLang="ko-KR" sz="14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ko-KR" altLang="en-US" sz="1400" i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BBA2A01B-3848-D3B5-7448-263807843B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01382" y="3429000"/>
                <a:ext cx="1524000" cy="30777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" name="표 3">
                <a:extLst>
                  <a:ext uri="{FF2B5EF4-FFF2-40B4-BE49-F238E27FC236}">
                    <a16:creationId xmlns:a16="http://schemas.microsoft.com/office/drawing/2014/main" id="{F607D6FE-219E-5DFB-56D9-A07384916AC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965777543"/>
                  </p:ext>
                </p:extLst>
              </p:nvPr>
            </p:nvGraphicFramePr>
            <p:xfrm>
              <a:off x="2394577" y="4450433"/>
              <a:ext cx="7402845" cy="18288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371247">
                      <a:extLst>
                        <a:ext uri="{9D8B030D-6E8A-4147-A177-3AD203B41FA5}">
                          <a16:colId xmlns:a16="http://schemas.microsoft.com/office/drawing/2014/main" val="4271116476"/>
                        </a:ext>
                      </a:extLst>
                    </a:gridCol>
                    <a:gridCol w="1371247">
                      <a:extLst>
                        <a:ext uri="{9D8B030D-6E8A-4147-A177-3AD203B41FA5}">
                          <a16:colId xmlns:a16="http://schemas.microsoft.com/office/drawing/2014/main" val="2447964590"/>
                        </a:ext>
                      </a:extLst>
                    </a:gridCol>
                    <a:gridCol w="4660351">
                      <a:extLst>
                        <a:ext uri="{9D8B030D-6E8A-4147-A177-3AD203B41FA5}">
                          <a16:colId xmlns:a16="http://schemas.microsoft.com/office/drawing/2014/main" val="3034857685"/>
                        </a:ext>
                      </a:extLst>
                    </a:gridCol>
                  </a:tblGrid>
                  <a:tr h="169077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Parameter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Unit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Description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95692625"/>
                      </a:ext>
                    </a:extLst>
                  </a:tr>
                  <a:tr h="169077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4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altLang="ko-KR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𝑟𝑜𝑏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ko-KR" altLang="en-US" sz="1400" i="1" dirty="0">
                            <a:solidFill>
                              <a:schemeClr val="tx1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[</m:t>
                                </m:r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𝑚</m:t>
                                </m:r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]</m:t>
                                </m:r>
                              </m:oMath>
                            </m:oMathPara>
                          </a14:m>
                          <a:endParaRPr lang="ko-KR" altLang="en-US" sz="1400" i="0" dirty="0">
                            <a:solidFill>
                              <a:schemeClr val="tx1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x-coordinate in the robot absolute coordinate system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410554225"/>
                      </a:ext>
                    </a:extLst>
                  </a:tr>
                  <a:tr h="169077"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altLang="ko-KR" sz="14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𝑟𝑜𝑏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[</m:t>
                                </m:r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]</m:t>
                                </m:r>
                              </m:oMath>
                            </m:oMathPara>
                          </a14:m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y-coordinate in the robot absolute coordinate system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4294949604"/>
                      </a:ext>
                    </a:extLst>
                  </a:tr>
                  <a:tr h="169077"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𝜃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US" altLang="ko-KR" sz="14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end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[</m:t>
                                </m:r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𝑟𝑎𝑑</m:t>
                                </m:r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]</m:t>
                                </m:r>
                              </m:oMath>
                            </m:oMathPara>
                          </a14:m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/>
                            <a:t>Robot end effector angle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762004829"/>
                      </a:ext>
                    </a:extLst>
                  </a:tr>
                  <a:tr h="169077"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400" i="1" dirty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400" i="1" dirty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en-US" altLang="ko-KR" sz="1400" i="1" dirty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𝑐𝑎𝑡𝑐h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[−]</m:t>
                                </m:r>
                              </m:oMath>
                            </m:oMathPara>
                          </a14:m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/>
                            <a:t>D</a:t>
                          </a:r>
                          <a:r>
                            <a:rPr lang="de-DE" altLang="ko-KR" sz="1400" dirty="0"/>
                            <a:t>ebris recognition status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858202929"/>
                      </a:ext>
                    </a:extLst>
                  </a:tr>
                  <a:tr h="169077"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4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e>
                                  <m:sub>
                                    <m:r>
                                      <a:rPr lang="en-US" altLang="ko-KR" sz="14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𝑑𝑒𝑏</m:t>
                                    </m:r>
                                  </m:sub>
                                </m:sSub>
                                <m:r>
                                  <a:rPr lang="en-US" altLang="ko-KR" sz="14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</m:oMath>
                            </m:oMathPara>
                          </a14:m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[</m:t>
                                </m:r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𝑚𝑚</m:t>
                                </m:r>
                                <m:r>
                                  <a:rPr lang="en-US" altLang="ko-KR" sz="1400" i="1" dirty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]</m:t>
                                </m:r>
                              </m:oMath>
                            </m:oMathPara>
                          </a14:m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/>
                            <a:t>D</a:t>
                          </a:r>
                          <a:r>
                            <a:rPr lang="de-DE" altLang="ko-KR" sz="1400" dirty="0"/>
                            <a:t>istance to debris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99947378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2" name="표 3">
                <a:extLst>
                  <a:ext uri="{FF2B5EF4-FFF2-40B4-BE49-F238E27FC236}">
                    <a16:creationId xmlns:a16="http://schemas.microsoft.com/office/drawing/2014/main" id="{F607D6FE-219E-5DFB-56D9-A07384916AC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965777543"/>
                  </p:ext>
                </p:extLst>
              </p:nvPr>
            </p:nvGraphicFramePr>
            <p:xfrm>
              <a:off x="2394577" y="4450433"/>
              <a:ext cx="7402845" cy="18288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371247">
                      <a:extLst>
                        <a:ext uri="{9D8B030D-6E8A-4147-A177-3AD203B41FA5}">
                          <a16:colId xmlns:a16="http://schemas.microsoft.com/office/drawing/2014/main" val="4271116476"/>
                        </a:ext>
                      </a:extLst>
                    </a:gridCol>
                    <a:gridCol w="1371247">
                      <a:extLst>
                        <a:ext uri="{9D8B030D-6E8A-4147-A177-3AD203B41FA5}">
                          <a16:colId xmlns:a16="http://schemas.microsoft.com/office/drawing/2014/main" val="2447964590"/>
                        </a:ext>
                      </a:extLst>
                    </a:gridCol>
                    <a:gridCol w="4660351">
                      <a:extLst>
                        <a:ext uri="{9D8B030D-6E8A-4147-A177-3AD203B41FA5}">
                          <a16:colId xmlns:a16="http://schemas.microsoft.com/office/drawing/2014/main" val="3034857685"/>
                        </a:ext>
                      </a:extLst>
                    </a:gridCol>
                  </a:tblGrid>
                  <a:tr h="304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Parameter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Unit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Description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95692625"/>
                      </a:ext>
                    </a:extLst>
                  </a:tr>
                  <a:tr h="304800"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444" t="-104000" r="-441333" b="-42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100444" t="-104000" r="-341333" b="-42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x-coordinate in the robot absolute coordinate system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410554225"/>
                      </a:ext>
                    </a:extLst>
                  </a:tr>
                  <a:tr h="304800"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444" t="-200000" r="-441333" b="-31372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100444" t="-200000" r="-341333" b="-31372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y-coordinate in the robot absolute coordinate system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4294949604"/>
                      </a:ext>
                    </a:extLst>
                  </a:tr>
                  <a:tr h="304800"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444" t="-306000" r="-441333" b="-22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100444" t="-306000" r="-341333" b="-22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/>
                            <a:t>Robot end effector angle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762004829"/>
                      </a:ext>
                    </a:extLst>
                  </a:tr>
                  <a:tr h="304800"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444" t="-406000" r="-441333" b="-12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100444" t="-406000" r="-341333" b="-12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/>
                            <a:t>D</a:t>
                          </a:r>
                          <a:r>
                            <a:rPr lang="de-DE" altLang="ko-KR" sz="1400" dirty="0"/>
                            <a:t>ebris recognition status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858202929"/>
                      </a:ext>
                    </a:extLst>
                  </a:tr>
                  <a:tr h="304800"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444" t="-506000" r="-441333" b="-2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100444" t="-506000" r="-341333" b="-2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/>
                            <a:t>D</a:t>
                          </a:r>
                          <a:r>
                            <a:rPr lang="de-DE" altLang="ko-KR" sz="1400" dirty="0"/>
                            <a:t>istance to debris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999473781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348339141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모서리가 둥근 직사각형 7">
            <a:extLst>
              <a:ext uri="{FF2B5EF4-FFF2-40B4-BE49-F238E27FC236}">
                <a16:creationId xmlns:a16="http://schemas.microsoft.com/office/drawing/2014/main" id="{FF2F6786-641E-52FB-6723-0D04E099DF22}"/>
              </a:ext>
            </a:extLst>
          </p:cNvPr>
          <p:cNvSpPr/>
          <p:nvPr/>
        </p:nvSpPr>
        <p:spPr>
          <a:xfrm>
            <a:off x="5971823" y="2440440"/>
            <a:ext cx="5514308" cy="3908990"/>
          </a:xfrm>
          <a:prstGeom prst="rect">
            <a:avLst/>
          </a:prstGeom>
          <a:noFill/>
          <a:ln w="9525">
            <a:solidFill>
              <a:schemeClr val="accent1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3" name="모서리가 둥근 직사각형 7">
            <a:extLst>
              <a:ext uri="{FF2B5EF4-FFF2-40B4-BE49-F238E27FC236}">
                <a16:creationId xmlns:a16="http://schemas.microsoft.com/office/drawing/2014/main" id="{4A0DBFEA-D19A-BD95-B0E8-22BC0D8E949D}"/>
              </a:ext>
            </a:extLst>
          </p:cNvPr>
          <p:cNvSpPr/>
          <p:nvPr/>
        </p:nvSpPr>
        <p:spPr>
          <a:xfrm>
            <a:off x="422745" y="1060465"/>
            <a:ext cx="11346510" cy="546342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Contents	</a:t>
            </a:r>
            <a:endParaRPr lang="ko-KR" alt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DFD3803A-2D3A-C225-BAEF-F0C3220BD9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4">
            <a:extLst>
              <a:ext uri="{FF2B5EF4-FFF2-40B4-BE49-F238E27FC236}">
                <a16:creationId xmlns:a16="http://schemas.microsoft.com/office/drawing/2014/main" id="{F28B0F15-5785-5AE1-90ED-41C74EA74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직사각형 125">
                <a:extLst>
                  <a:ext uri="{FF2B5EF4-FFF2-40B4-BE49-F238E27FC236}">
                    <a16:creationId xmlns:a16="http://schemas.microsoft.com/office/drawing/2014/main" id="{3BEA1FA1-1585-A510-BE86-699DDA009D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7728" y="2588586"/>
                <a:ext cx="4455971" cy="1154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marL="285750" indent="-285750" latinLnBrk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1pPr>
                <a:lvl2pPr marL="742950" indent="-285750" latinLnBrk="1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2pPr>
                <a:lvl3pPr marL="1143000" indent="-228600" latinLnBrk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3pPr>
                <a:lvl4pPr marL="1600200" indent="-228600" latinLnBrk="1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4pPr>
                <a:lvl5pPr marL="2057400" indent="-228600" latinLnBrk="1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defRPr>
                </a:lvl9pPr>
              </a:lstStyle>
              <a:p>
                <a:pPr latinLnBrk="0">
                  <a:lnSpc>
                    <a:spcPct val="150000"/>
                  </a:lnSpc>
                  <a:spcBef>
                    <a:spcPts val="0"/>
                  </a:spcBef>
                  <a:defRPr/>
                </a:pPr>
                <a:r>
                  <a:rPr lang="en-US" altLang="ko-KR" sz="160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lor segmentation for object tracking</a:t>
                </a:r>
              </a:p>
              <a:p>
                <a:pPr latinLnBrk="0">
                  <a:lnSpc>
                    <a:spcPct val="150000"/>
                  </a:lnSpc>
                  <a:spcBef>
                    <a:spcPts val="0"/>
                  </a:spcBef>
                  <a:defRPr/>
                </a:pPr>
                <a:r>
                  <a:rPr lang="en-US" altLang="ko-KR" sz="160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ixel to robot absolute coordinate</a:t>
                </a:r>
              </a:p>
              <a:p>
                <a:pPr latinLnBrk="0">
                  <a:lnSpc>
                    <a:spcPct val="150000"/>
                  </a:lnSpc>
                  <a:spcBef>
                    <a:spcPts val="0"/>
                  </a:spcBef>
                  <a:defRPr/>
                </a:pPr>
                <a:r>
                  <a:rPr lang="en-US" altLang="ko-KR" sz="160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ing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altLang="ko-KR" sz="1600" i="1" smtClean="0">
                            <a:latin typeface="Cambria Math" panose="02040503050406030204" pitchFamily="18" charset="0"/>
                          </a:rPr>
                          <m:t>𝑟𝑜𝑏</m:t>
                        </m:r>
                      </m:sub>
                    </m:sSub>
                  </m:oMath>
                </a14:m>
                <a:r>
                  <a:rPr lang="ko-KR" altLang="en-US" sz="16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lang="en-US" altLang="ko-KR" sz="16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60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𝑟𝑜𝑏</m:t>
                        </m:r>
                      </m:sub>
                    </m:sSub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to robot control part</a:t>
                </a:r>
              </a:p>
            </p:txBody>
          </p:sp>
        </mc:Choice>
        <mc:Fallback xmlns="">
          <p:sp>
            <p:nvSpPr>
              <p:cNvPr id="31" name="직사각형 125">
                <a:extLst>
                  <a:ext uri="{FF2B5EF4-FFF2-40B4-BE49-F238E27FC236}">
                    <a16:creationId xmlns:a16="http://schemas.microsoft.com/office/drawing/2014/main" id="{3BEA1FA1-1585-A510-BE86-699DDA009D6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17728" y="2588586"/>
                <a:ext cx="4455971" cy="1154675"/>
              </a:xfrm>
              <a:prstGeom prst="rect">
                <a:avLst/>
              </a:prstGeom>
              <a:blipFill>
                <a:blip r:embed="rId4"/>
                <a:stretch>
                  <a:fillRect l="-547" b="-6349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86832A2D-A798-E07C-8FCF-FAB22C8CA8FB}"/>
                  </a:ext>
                </a:extLst>
              </p:cNvPr>
              <p:cNvSpPr txBox="1"/>
              <p:nvPr/>
            </p:nvSpPr>
            <p:spPr>
              <a:xfrm>
                <a:off x="6145382" y="2607836"/>
                <a:ext cx="5340749" cy="15840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 latinLnBrk="0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/>
                </a:pPr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Color segmentation for detecting debris</a:t>
                </a:r>
              </a:p>
              <a:p>
                <a:pPr marL="285750" indent="-285750" latinLnBrk="0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/>
                </a:pPr>
                <a:r>
                  <a:rPr lang="en-US" altLang="ko-KR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et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6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𝑖𝑚𝑎𝑔𝑒</m:t>
                        </m:r>
                      </m:sub>
                    </m:sSub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using geometry approximation algorithm</a:t>
                </a:r>
              </a:p>
              <a:p>
                <a:pPr marL="285750" indent="-285750" latinLnBrk="0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/>
                </a:pPr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Coordinate conversion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en-US" altLang="ko-KR" sz="1600" i="1" smtClean="0">
                            <a:latin typeface="Cambria Math" panose="02040503050406030204" pitchFamily="18" charset="0"/>
                          </a:rPr>
                          <m:t>𝑖𝑚𝑎𝑔𝑒</m:t>
                        </m:r>
                      </m:sub>
                    </m:sSub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ko-KR" sz="16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→</m:t>
                    </m:r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𝑒𝑛𝑑</m:t>
                        </m:r>
                      </m:sub>
                    </m:sSub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pPr marL="285750" indent="-285750" latinLnBrk="0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/>
                </a:pPr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Sending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600" i="1" smtClean="0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600" i="1">
                            <a:latin typeface="Cambria Math" panose="02040503050406030204" pitchFamily="18" charset="0"/>
                          </a:rPr>
                          <m:t>end</m:t>
                        </m:r>
                      </m:sub>
                    </m:sSub>
                    <m:r>
                      <a:rPr lang="en-US" altLang="ko-KR" sz="16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to robot control part</a:t>
                </a:r>
              </a:p>
            </p:txBody>
          </p:sp>
        </mc:Choice>
        <mc:Fallback xmlns=""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86832A2D-A798-E07C-8FCF-FAB22C8CA8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5382" y="2607836"/>
                <a:ext cx="5340749" cy="1584023"/>
              </a:xfrm>
              <a:prstGeom prst="rect">
                <a:avLst/>
              </a:prstGeom>
              <a:blipFill>
                <a:blip r:embed="rId5"/>
                <a:stretch>
                  <a:fillRect l="-457" b="-423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BC3C5E5-6C61-0FFB-DB71-1190A5827157}"/>
              </a:ext>
            </a:extLst>
          </p:cNvPr>
          <p:cNvSpPr txBox="1"/>
          <p:nvPr/>
        </p:nvSpPr>
        <p:spPr>
          <a:xfrm>
            <a:off x="646037" y="1459444"/>
            <a:ext cx="4516576" cy="5091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latinLnBrk="0">
              <a:lnSpc>
                <a:spcPct val="200000"/>
              </a:lnSpc>
              <a:spcBef>
                <a:spcPts val="0"/>
              </a:spcBef>
              <a:buNone/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○ Image Processing Part</a:t>
            </a:r>
            <a:endParaRPr lang="en-US" altLang="ko-KR" sz="16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0E94F5D2-70C9-3B9E-AB96-558BB12A4F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21527" y="828493"/>
            <a:ext cx="4293285" cy="1150086"/>
          </a:xfrm>
          <a:prstGeom prst="rect">
            <a:avLst/>
          </a:prstGeom>
        </p:spPr>
      </p:pic>
      <p:sp>
        <p:nvSpPr>
          <p:cNvPr id="36" name="직사각형 35">
            <a:extLst>
              <a:ext uri="{FF2B5EF4-FFF2-40B4-BE49-F238E27FC236}">
                <a16:creationId xmlns:a16="http://schemas.microsoft.com/office/drawing/2014/main" id="{8A9426F7-566A-A74D-F9AF-DE1B5769A54F}"/>
              </a:ext>
            </a:extLst>
          </p:cNvPr>
          <p:cNvSpPr/>
          <p:nvPr/>
        </p:nvSpPr>
        <p:spPr>
          <a:xfrm>
            <a:off x="7510975" y="806515"/>
            <a:ext cx="1420061" cy="1172064"/>
          </a:xfrm>
          <a:prstGeom prst="rect">
            <a:avLst/>
          </a:prstGeom>
          <a:solidFill>
            <a:schemeClr val="accent5">
              <a:alpha val="50000"/>
            </a:schemeClr>
          </a:solidFill>
          <a:ln w="38100">
            <a:solidFill>
              <a:srgbClr val="7030A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모서리가 둥근 직사각형 7">
            <a:extLst>
              <a:ext uri="{FF2B5EF4-FFF2-40B4-BE49-F238E27FC236}">
                <a16:creationId xmlns:a16="http://schemas.microsoft.com/office/drawing/2014/main" id="{FC9523F1-976E-0A7E-3262-77D4F7283DD7}"/>
              </a:ext>
            </a:extLst>
          </p:cNvPr>
          <p:cNvSpPr/>
          <p:nvPr/>
        </p:nvSpPr>
        <p:spPr>
          <a:xfrm>
            <a:off x="750364" y="2440440"/>
            <a:ext cx="5013130" cy="3908990"/>
          </a:xfrm>
          <a:prstGeom prst="rect">
            <a:avLst/>
          </a:prstGeom>
          <a:noFill/>
          <a:ln w="9525">
            <a:solidFill>
              <a:schemeClr val="accent1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3345C358-427D-8AB8-3219-E914E58FE094}"/>
              </a:ext>
            </a:extLst>
          </p:cNvPr>
          <p:cNvSpPr/>
          <p:nvPr/>
        </p:nvSpPr>
        <p:spPr>
          <a:xfrm>
            <a:off x="933343" y="2300059"/>
            <a:ext cx="2711557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1-1) For Motion Tracking</a:t>
            </a:r>
            <a:endParaRPr lang="ko-KR" altLang="en-US" sz="1600" dirty="0">
              <a:latin typeface="Arial" panose="020B0604020202020204" pitchFamily="34" charset="0"/>
              <a:ea typeface="현대하모니 B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84CE7251-2FB9-755E-F521-93B3D18D1CCB}"/>
              </a:ext>
            </a:extLst>
          </p:cNvPr>
          <p:cNvSpPr/>
          <p:nvPr/>
        </p:nvSpPr>
        <p:spPr>
          <a:xfrm>
            <a:off x="6132882" y="2314573"/>
            <a:ext cx="2711556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1-2) For Catching Debris</a:t>
            </a: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96C15DA3-C3DE-4E93-96E3-06AB52453A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3" y="942802"/>
            <a:ext cx="6003667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obot system for motion tracking and precise parsing</a:t>
            </a:r>
          </a:p>
        </p:txBody>
      </p: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860341E1-3B09-CE01-21AE-7006364263BD}"/>
              </a:ext>
            </a:extLst>
          </p:cNvPr>
          <p:cNvGrpSpPr/>
          <p:nvPr/>
        </p:nvGrpSpPr>
        <p:grpSpPr>
          <a:xfrm>
            <a:off x="888577" y="3760742"/>
            <a:ext cx="4714272" cy="2234064"/>
            <a:chOff x="863272" y="3743289"/>
            <a:chExt cx="4714272" cy="2234064"/>
          </a:xfrm>
        </p:grpSpPr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E652291B-8A7B-2E80-0168-E08A79717A15}"/>
                </a:ext>
              </a:extLst>
            </p:cNvPr>
            <p:cNvGrpSpPr/>
            <p:nvPr/>
          </p:nvGrpSpPr>
          <p:grpSpPr>
            <a:xfrm>
              <a:off x="863272" y="3743289"/>
              <a:ext cx="3716634" cy="2234064"/>
              <a:chOff x="863272" y="3812317"/>
              <a:chExt cx="3716634" cy="2234064"/>
            </a:xfrm>
          </p:grpSpPr>
          <p:grpSp>
            <p:nvGrpSpPr>
              <p:cNvPr id="29" name="그룹 28">
                <a:extLst>
                  <a:ext uri="{FF2B5EF4-FFF2-40B4-BE49-F238E27FC236}">
                    <a16:creationId xmlns:a16="http://schemas.microsoft.com/office/drawing/2014/main" id="{6BC3D05C-D60D-62B7-99F9-5C84F0ABF179}"/>
                  </a:ext>
                </a:extLst>
              </p:cNvPr>
              <p:cNvGrpSpPr/>
              <p:nvPr/>
            </p:nvGrpSpPr>
            <p:grpSpPr>
              <a:xfrm>
                <a:off x="863272" y="3812317"/>
                <a:ext cx="2415373" cy="2026041"/>
                <a:chOff x="686496" y="3917439"/>
                <a:chExt cx="2579118" cy="2163392"/>
              </a:xfrm>
            </p:grpSpPr>
            <p:cxnSp>
              <p:nvCxnSpPr>
                <p:cNvPr id="12" name="직선 화살표 연결선 27">
                  <a:extLst>
                    <a:ext uri="{FF2B5EF4-FFF2-40B4-BE49-F238E27FC236}">
                      <a16:creationId xmlns:a16="http://schemas.microsoft.com/office/drawing/2014/main" id="{87779C50-70C3-F308-ED75-EDAE6C436A1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768600" y="4910161"/>
                  <a:ext cx="497014" cy="0"/>
                </a:xfrm>
                <a:prstGeom prst="straightConnector1">
                  <a:avLst/>
                </a:prstGeom>
                <a:ln w="38100"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25" name="TextBox 24">
                      <a:extLst>
                        <a:ext uri="{FF2B5EF4-FFF2-40B4-BE49-F238E27FC236}">
                          <a16:creationId xmlns:a16="http://schemas.microsoft.com/office/drawing/2014/main" id="{626198B8-12E2-BEFE-6739-E1E319102AD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567252" y="3917439"/>
                      <a:ext cx="497014" cy="34637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sSub>
                              <m:sSubPr>
                                <m:ctrlPr>
                                  <a:rPr lang="en-US" altLang="ko-KR" sz="140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ko-KR" sz="1400" i="1" dirty="0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ko-KR" sz="1400" i="1" dirty="0" smtClean="0">
                                    <a:latin typeface="Cambria Math" panose="02040503050406030204" pitchFamily="18" charset="0"/>
                                  </a:rPr>
                                  <m:t>𝑝𝑖𝑥</m:t>
                                </m:r>
                              </m:sub>
                            </m:sSub>
                          </m:oMath>
                        </m:oMathPara>
                      </a14:m>
                      <a:endParaRPr lang="ko-KR" alt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mc:Choice>
              <mc:Fallback xmlns="">
                <p:sp>
                  <p:nvSpPr>
                    <p:cNvPr id="25" name="TextBox 24">
                      <a:extLst>
                        <a:ext uri="{FF2B5EF4-FFF2-40B4-BE49-F238E27FC236}">
                          <a16:creationId xmlns:a16="http://schemas.microsoft.com/office/drawing/2014/main" id="{626198B8-12E2-BEFE-6739-E1E319102AD5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2567252" y="3917439"/>
                      <a:ext cx="497014" cy="346375"/>
                    </a:xfrm>
                    <a:prstGeom prst="rect">
                      <a:avLst/>
                    </a:prstGeom>
                    <a:blipFill>
                      <a:blip r:embed="rId7"/>
                      <a:stretch>
                        <a:fillRect b="-3774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ko-KR" altLang="en-US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p:grpSp>
              <p:nvGrpSpPr>
                <p:cNvPr id="28" name="그룹 27">
                  <a:extLst>
                    <a:ext uri="{FF2B5EF4-FFF2-40B4-BE49-F238E27FC236}">
                      <a16:creationId xmlns:a16="http://schemas.microsoft.com/office/drawing/2014/main" id="{0FAA26D0-BCF9-1DE6-5DE0-68265BAB08AA}"/>
                    </a:ext>
                  </a:extLst>
                </p:cNvPr>
                <p:cNvGrpSpPr/>
                <p:nvPr/>
              </p:nvGrpSpPr>
              <p:grpSpPr>
                <a:xfrm>
                  <a:off x="686496" y="4305299"/>
                  <a:ext cx="2217829" cy="1775532"/>
                  <a:chOff x="686496" y="4305299"/>
                  <a:chExt cx="2217829" cy="1775532"/>
                </a:xfrm>
              </p:grpSpPr>
              <p:pic>
                <p:nvPicPr>
                  <p:cNvPr id="4" name="그림 3">
                    <a:extLst>
                      <a:ext uri="{FF2B5EF4-FFF2-40B4-BE49-F238E27FC236}">
                        <a16:creationId xmlns:a16="http://schemas.microsoft.com/office/drawing/2014/main" id="{1855ECDD-85A5-FD64-9126-CC3EE6C5CCF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8"/>
                  <a:srcRect t="5260"/>
                  <a:stretch/>
                </p:blipFill>
                <p:spPr>
                  <a:xfrm>
                    <a:off x="933343" y="4319587"/>
                    <a:ext cx="1662212" cy="1250570"/>
                  </a:xfrm>
                  <a:prstGeom prst="rect">
                    <a:avLst/>
                  </a:prstGeom>
                </p:spPr>
              </p:pic>
              <p:cxnSp>
                <p:nvCxnSpPr>
                  <p:cNvPr id="20" name="직선 화살표 연결선 19">
                    <a:extLst>
                      <a:ext uri="{FF2B5EF4-FFF2-40B4-BE49-F238E27FC236}">
                        <a16:creationId xmlns:a16="http://schemas.microsoft.com/office/drawing/2014/main" id="{9790ABAD-67C6-164D-A5AC-1BA736C19BB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33343" y="4319588"/>
                    <a:ext cx="1970982" cy="0"/>
                  </a:xfrm>
                  <a:prstGeom prst="straightConnector1">
                    <a:avLst/>
                  </a:prstGeom>
                  <a:ln w="28575"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" name="직선 화살표 연결선 20">
                    <a:extLst>
                      <a:ext uri="{FF2B5EF4-FFF2-40B4-BE49-F238E27FC236}">
                        <a16:creationId xmlns:a16="http://schemas.microsoft.com/office/drawing/2014/main" id="{66804080-EBFE-48EC-6174-C8040FB33AE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33343" y="4305299"/>
                    <a:ext cx="0" cy="1504366"/>
                  </a:xfrm>
                  <a:prstGeom prst="straightConnector1">
                    <a:avLst/>
                  </a:prstGeom>
                  <a:ln w="28575"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mc:AlternateContent xmlns:mc="http://schemas.openxmlformats.org/markup-compatibility/2006" xmlns:a14="http://schemas.microsoft.com/office/drawing/2010/main">
                <mc:Choice Requires="a14">
                  <p:sp>
                    <p:nvSpPr>
                      <p:cNvPr id="27" name="TextBox 26">
                        <a:extLst>
                          <a:ext uri="{FF2B5EF4-FFF2-40B4-BE49-F238E27FC236}">
                            <a16:creationId xmlns:a16="http://schemas.microsoft.com/office/drawing/2014/main" id="{67F33773-8D07-76DC-5B8C-3A086A9DB64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86496" y="5734456"/>
                        <a:ext cx="517711" cy="346375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/>
                        <a14:m>
                          <m:oMathPara xmlns:m="http://schemas.openxmlformats.org/officeDocument/2006/math">
                            <m:oMathParaPr>
                              <m:jc m:val="centerGroup"/>
                            </m:oMathParaPr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altLang="ko-KR" sz="140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ko-KR" sz="1400" i="1" dirty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altLang="ko-KR" sz="1400" i="1" dirty="0" smtClean="0">
                                      <a:latin typeface="Cambria Math" panose="02040503050406030204" pitchFamily="18" charset="0"/>
                                    </a:rPr>
                                    <m:t>𝑝𝑖𝑥</m:t>
                                  </m:r>
                                </m:sub>
                              </m:sSub>
                            </m:oMath>
                          </m:oMathPara>
                        </a14:m>
                        <a:endParaRPr lang="ko-KR" altLang="en-US" sz="1400" i="1" dirty="0"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</mc:Choice>
                <mc:Fallback xmlns="">
                  <p:sp>
                    <p:nvSpPr>
                      <p:cNvPr id="27" name="TextBox 26">
                        <a:extLst>
                          <a:ext uri="{FF2B5EF4-FFF2-40B4-BE49-F238E27FC236}">
                            <a16:creationId xmlns:a16="http://schemas.microsoft.com/office/drawing/2014/main" id="{67F33773-8D07-76DC-5B8C-3A086A9DB644}"/>
                          </a:ext>
                        </a:extLst>
                      </p:cNvPr>
                      <p:cNvSpPr txBox="1">
                        <a:spLocks noRot="1" noChangeAspect="1" noMove="1" noResize="1" noEditPoints="1" noAdjustHandles="1" noChangeArrowheads="1" noChangeShapeType="1" noTextEdit="1"/>
                      </p:cNvSpPr>
                      <p:nvPr/>
                    </p:nvSpPr>
                    <p:spPr>
                      <a:xfrm>
                        <a:off x="686496" y="5734456"/>
                        <a:ext cx="517711" cy="346375"/>
                      </a:xfrm>
                      <a:prstGeom prst="rect">
                        <a:avLst/>
                      </a:prstGeom>
                      <a:blipFill>
                        <a:blip r:embed="rId9"/>
                        <a:stretch>
                          <a:fillRect b="-3774"/>
                        </a:stretch>
                      </a:blipFill>
                    </p:spPr>
                    <p:txBody>
                      <a:bodyPr/>
                      <a:lstStyle/>
                      <a:p>
                        <a:r>
                          <a:rPr lang="ko-KR" altLang="en-US">
                            <a:noFill/>
                          </a:rPr>
                          <a:t> </a:t>
                        </a:r>
                      </a:p>
                    </p:txBody>
                  </p:sp>
                </mc:Fallback>
              </mc:AlternateContent>
            </p:grpSp>
          </p:grp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B25C1899-46D7-E4D2-9FB5-0B226278FA14}"/>
                  </a:ext>
                </a:extLst>
              </p:cNvPr>
              <p:cNvSpPr txBox="1"/>
              <p:nvPr/>
            </p:nvSpPr>
            <p:spPr>
              <a:xfrm>
                <a:off x="1511923" y="5738604"/>
                <a:ext cx="306798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Coordinate Transformation</a:t>
                </a:r>
                <a:endParaRPr lang="ko-KR" altLang="en-US"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35" name="그림 34">
              <a:extLst>
                <a:ext uri="{FF2B5EF4-FFF2-40B4-BE49-F238E27FC236}">
                  <a16:creationId xmlns:a16="http://schemas.microsoft.com/office/drawing/2014/main" id="{04906659-EF8A-83A0-8823-EAD1379943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322810" y="4106396"/>
              <a:ext cx="2254734" cy="1271484"/>
            </a:xfrm>
            <a:prstGeom prst="rect">
              <a:avLst/>
            </a:prstGeom>
          </p:spPr>
        </p:pic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F2371DA3-C282-DCCA-BAB4-FD93A2DE96EC}"/>
              </a:ext>
            </a:extLst>
          </p:cNvPr>
          <p:cNvGrpSpPr/>
          <p:nvPr/>
        </p:nvGrpSpPr>
        <p:grpSpPr>
          <a:xfrm>
            <a:off x="7038091" y="4345266"/>
            <a:ext cx="3381772" cy="1824366"/>
            <a:chOff x="7032439" y="4270194"/>
            <a:chExt cx="3381772" cy="1824366"/>
          </a:xfrm>
        </p:grpSpPr>
        <p:grpSp>
          <p:nvGrpSpPr>
            <p:cNvPr id="13" name="그룹 12">
              <a:extLst>
                <a:ext uri="{FF2B5EF4-FFF2-40B4-BE49-F238E27FC236}">
                  <a16:creationId xmlns:a16="http://schemas.microsoft.com/office/drawing/2014/main" id="{8C281383-1C8A-D4F0-28F4-1494023779E3}"/>
                </a:ext>
              </a:extLst>
            </p:cNvPr>
            <p:cNvGrpSpPr/>
            <p:nvPr/>
          </p:nvGrpSpPr>
          <p:grpSpPr>
            <a:xfrm>
              <a:off x="7032439" y="4270194"/>
              <a:ext cx="3381772" cy="1377373"/>
              <a:chOff x="7641443" y="4508368"/>
              <a:chExt cx="3732185" cy="1377373"/>
            </a:xfrm>
          </p:grpSpPr>
          <p:pic>
            <p:nvPicPr>
              <p:cNvPr id="15" name="그림 14">
                <a:extLst>
                  <a:ext uri="{FF2B5EF4-FFF2-40B4-BE49-F238E27FC236}">
                    <a16:creationId xmlns:a16="http://schemas.microsoft.com/office/drawing/2014/main" id="{403CE4C0-FCB6-91BA-F88C-4EAE1703277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/>
              <a:srcRect l="6293" t="7884"/>
              <a:stretch/>
            </p:blipFill>
            <p:spPr>
              <a:xfrm>
                <a:off x="9544081" y="4508368"/>
                <a:ext cx="1829547" cy="1377373"/>
              </a:xfrm>
              <a:prstGeom prst="rect">
                <a:avLst/>
              </a:prstGeom>
            </p:spPr>
          </p:pic>
          <p:pic>
            <p:nvPicPr>
              <p:cNvPr id="16" name="그림 15">
                <a:extLst>
                  <a:ext uri="{FF2B5EF4-FFF2-40B4-BE49-F238E27FC236}">
                    <a16:creationId xmlns:a16="http://schemas.microsoft.com/office/drawing/2014/main" id="{B3EDD5C4-93A3-BB53-8F46-3C4C3E321C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7641443" y="4508368"/>
                <a:ext cx="1836498" cy="1377373"/>
              </a:xfrm>
              <a:prstGeom prst="rect">
                <a:avLst/>
              </a:prstGeom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CEB8067-CC98-45BB-C99C-1AEEE0BCBB88}"/>
                </a:ext>
              </a:extLst>
            </p:cNvPr>
            <p:cNvSpPr txBox="1"/>
            <p:nvPr/>
          </p:nvSpPr>
          <p:spPr>
            <a:xfrm>
              <a:off x="7219889" y="5786783"/>
              <a:ext cx="306798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Angle Detection</a:t>
              </a:r>
              <a:endParaRPr lang="ko-KR" altLang="en-US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839907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모서리가 둥근 직사각형 7">
            <a:extLst>
              <a:ext uri="{FF2B5EF4-FFF2-40B4-BE49-F238E27FC236}">
                <a16:creationId xmlns:a16="http://schemas.microsoft.com/office/drawing/2014/main" id="{FF2F6786-641E-52FB-6723-0D04E099DF22}"/>
              </a:ext>
            </a:extLst>
          </p:cNvPr>
          <p:cNvSpPr/>
          <p:nvPr/>
        </p:nvSpPr>
        <p:spPr>
          <a:xfrm>
            <a:off x="5685726" y="2440440"/>
            <a:ext cx="5860237" cy="3908990"/>
          </a:xfrm>
          <a:prstGeom prst="rect">
            <a:avLst/>
          </a:prstGeom>
          <a:noFill/>
          <a:ln w="9525">
            <a:solidFill>
              <a:schemeClr val="accent1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3" name="모서리가 둥근 직사각형 7">
            <a:extLst>
              <a:ext uri="{FF2B5EF4-FFF2-40B4-BE49-F238E27FC236}">
                <a16:creationId xmlns:a16="http://schemas.microsoft.com/office/drawing/2014/main" id="{4A0DBFEA-D19A-BD95-B0E8-22BC0D8E949D}"/>
              </a:ext>
            </a:extLst>
          </p:cNvPr>
          <p:cNvSpPr/>
          <p:nvPr/>
        </p:nvSpPr>
        <p:spPr>
          <a:xfrm>
            <a:off x="422745" y="1060465"/>
            <a:ext cx="11346510" cy="546342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Contents	</a:t>
            </a:r>
            <a:endParaRPr lang="ko-KR" alt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DFD3803A-2D3A-C225-BAEF-F0C3220BD9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4">
            <a:extLst>
              <a:ext uri="{FF2B5EF4-FFF2-40B4-BE49-F238E27FC236}">
                <a16:creationId xmlns:a16="http://schemas.microsoft.com/office/drawing/2014/main" id="{F28B0F15-5785-5AE1-90ED-41C74EA74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직사각형 125">
            <a:extLst>
              <a:ext uri="{FF2B5EF4-FFF2-40B4-BE49-F238E27FC236}">
                <a16:creationId xmlns:a16="http://schemas.microsoft.com/office/drawing/2014/main" id="{3BEA1FA1-1585-A510-BE86-699DDA009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016" y="2612321"/>
            <a:ext cx="4610207" cy="115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latinLnBrk="0">
              <a:lnSpc>
                <a:spcPct val="150000"/>
              </a:lnSpc>
              <a:spcBef>
                <a:spcPts val="0"/>
              </a:spcBef>
              <a:defRPr/>
            </a:pPr>
            <a:r>
              <a:rPr lang="en-US" altLang="ko-KR" sz="16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nection distance sensor with Arduino</a:t>
            </a:r>
          </a:p>
          <a:p>
            <a:pPr latinLnBrk="0">
              <a:lnSpc>
                <a:spcPct val="150000"/>
              </a:lnSpc>
              <a:spcBef>
                <a:spcPts val="0"/>
              </a:spcBef>
              <a:defRPr/>
            </a:pPr>
            <a:r>
              <a:rPr lang="en-US" altLang="ko-KR" sz="16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ial communication between robot and Arduino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86832A2D-A798-E07C-8FCF-FAB22C8CA8FB}"/>
                  </a:ext>
                </a:extLst>
              </p:cNvPr>
              <p:cNvSpPr txBox="1"/>
              <p:nvPr/>
            </p:nvSpPr>
            <p:spPr>
              <a:xfrm>
                <a:off x="5868214" y="2607836"/>
                <a:ext cx="5860237" cy="30027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 latinLnBrk="0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/>
                </a:pPr>
                <a:r>
                  <a:rPr lang="en-US" altLang="ko-KR" sz="16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Mode 1</a:t>
                </a:r>
              </a:p>
              <a:p>
                <a:pPr marL="285750" indent="-285750" latinLnBrk="0">
                  <a:lnSpc>
                    <a:spcPct val="150000"/>
                  </a:lnSpc>
                  <a:buFontTx/>
                  <a:buChar char="-"/>
                  <a:defRPr/>
                </a:pPr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Receiving </a:t>
                </a:r>
                <a14:m>
                  <m:oMath xmlns:m="http://schemas.openxmlformats.org/officeDocument/2006/math">
                    <m:r>
                      <a:rPr lang="en-US" altLang="ko-KR" sz="1600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altLang="ko-KR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altLang="ko-KR" sz="1600" i="1" smtClean="0">
                            <a:latin typeface="Cambria Math" panose="02040503050406030204" pitchFamily="18" charset="0"/>
                          </a:rPr>
                          <m:t>𝑟𝑜𝑏</m:t>
                        </m:r>
                      </m:sub>
                    </m:sSub>
                  </m:oMath>
                </a14:m>
                <a:r>
                  <a:rPr lang="ko-KR" altLang="en-US" sz="16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lang="en-US" altLang="ko-KR" sz="16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60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𝑟𝑜𝑏</m:t>
                        </m:r>
                      </m:sub>
                    </m:sSub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/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600" i="1" dirty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altLang="ko-KR" sz="1600" i="1" dirty="0" smtClean="0">
                            <a:latin typeface="Cambria Math" panose="02040503050406030204" pitchFamily="18" charset="0"/>
                          </a:rPr>
                          <m:t>𝑐𝑎𝑡𝑐h</m:t>
                        </m:r>
                      </m:sub>
                    </m:sSub>
                    <m:r>
                      <a:rPr lang="en-US" altLang="ko-KR" sz="1600" b="0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from image processing part</a:t>
                </a:r>
              </a:p>
              <a:p>
                <a:pPr marL="285750" indent="-285750" latinLnBrk="0">
                  <a:lnSpc>
                    <a:spcPct val="150000"/>
                  </a:lnSpc>
                  <a:spcBef>
                    <a:spcPts val="0"/>
                  </a:spcBef>
                  <a:buFontTx/>
                  <a:buChar char="-"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altLang="ko-KR" sz="1600" i="1" smtClean="0">
                            <a:latin typeface="Cambria Math" panose="02040503050406030204" pitchFamily="18" charset="0"/>
                          </a:rPr>
                          <m:t>𝑟𝑜𝑏</m:t>
                        </m:r>
                      </m:sub>
                    </m:sSub>
                  </m:oMath>
                </a14:m>
                <a:r>
                  <a:rPr lang="ko-KR" altLang="en-US" sz="16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lang="en-US" altLang="ko-KR" sz="16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60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𝑟𝑜𝑏</m:t>
                        </m:r>
                      </m:sub>
                    </m:sSub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input to robot / Change Mode 2</a:t>
                </a:r>
              </a:p>
              <a:p>
                <a:pPr latinLnBrk="0">
                  <a:lnSpc>
                    <a:spcPct val="150000"/>
                  </a:lnSpc>
                  <a:spcBef>
                    <a:spcPts val="0"/>
                  </a:spcBef>
                  <a:defRPr/>
                </a:pPr>
                <a:endParaRPr lang="en-US" altLang="ko-KR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285750" indent="-285750" latinLnBrk="0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  <a:defRPr/>
                </a:pPr>
                <a:r>
                  <a:rPr lang="en-US" altLang="ko-KR" sz="16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Mode 2</a:t>
                </a:r>
              </a:p>
              <a:p>
                <a:pPr marL="285750" indent="-285750" latinLnBrk="0">
                  <a:lnSpc>
                    <a:spcPct val="150000"/>
                  </a:lnSpc>
                  <a:spcBef>
                    <a:spcPts val="0"/>
                  </a:spcBef>
                  <a:buFontTx/>
                  <a:buChar char="-"/>
                  <a:defRPr/>
                </a:pPr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Receiving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ko-KR" sz="16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𝜃</m:t>
                        </m:r>
                      </m:e>
                      <m:sub>
                        <m:r>
                          <a:rPr lang="en-US" altLang="ko-KR" sz="16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𝑒𝑛𝑑</m:t>
                        </m:r>
                      </m:sub>
                    </m:sSub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from image processing part (1-2)</a:t>
                </a:r>
              </a:p>
              <a:p>
                <a:pPr marL="285750" indent="-285750" latinLnBrk="0">
                  <a:lnSpc>
                    <a:spcPct val="150000"/>
                  </a:lnSpc>
                  <a:spcBef>
                    <a:spcPts val="0"/>
                  </a:spcBef>
                  <a:buFontTx/>
                  <a:buChar char="-"/>
                  <a:defRPr/>
                </a:pPr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Receiving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ko-KR" sz="16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𝑑</m:t>
                        </m:r>
                      </m:e>
                      <m:sub>
                        <m:r>
                          <a:rPr lang="en-US" altLang="ko-KR" sz="1600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𝑑𝑒𝑏</m:t>
                        </m:r>
                      </m:sub>
                    </m:sSub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from Arduino</a:t>
                </a:r>
              </a:p>
              <a:p>
                <a:pPr marL="285750" indent="-285750" latinLnBrk="0">
                  <a:lnSpc>
                    <a:spcPct val="150000"/>
                  </a:lnSpc>
                  <a:spcBef>
                    <a:spcPts val="0"/>
                  </a:spcBef>
                  <a:buFontTx/>
                  <a:buChar char="-"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ko-KR" sz="16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𝜃</m:t>
                        </m:r>
                      </m:e>
                      <m:sub>
                        <m:r>
                          <a:rPr lang="en-US" altLang="ko-KR" sz="16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𝑒𝑛𝑑</m:t>
                        </m:r>
                      </m:sub>
                    </m:sSub>
                    <m:r>
                      <a:rPr lang="en-US" altLang="ko-KR" sz="16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/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600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ko-KR" sz="1600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𝑑</m:t>
                        </m:r>
                      </m:e>
                      <m:sub>
                        <m:r>
                          <a:rPr lang="en-US" altLang="ko-KR" sz="1600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𝑑𝑒𝑏</m:t>
                        </m:r>
                      </m:sub>
                    </m:sSub>
                    <m:r>
                      <a:rPr lang="en-US" altLang="ko-KR" sz="1600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altLang="ko-K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input to robot</a:t>
                </a:r>
              </a:p>
            </p:txBody>
          </p:sp>
        </mc:Choice>
        <mc:Fallback xmlns=""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86832A2D-A798-E07C-8FCF-FAB22C8CA8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68214" y="2607836"/>
                <a:ext cx="5860237" cy="3002745"/>
              </a:xfrm>
              <a:prstGeom prst="rect">
                <a:avLst/>
              </a:prstGeom>
              <a:blipFill>
                <a:blip r:embed="rId4"/>
                <a:stretch>
                  <a:fillRect l="-520" b="-1829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BC3C5E5-6C61-0FFB-DB71-1190A5827157}"/>
              </a:ext>
            </a:extLst>
          </p:cNvPr>
          <p:cNvSpPr txBox="1"/>
          <p:nvPr/>
        </p:nvSpPr>
        <p:spPr>
          <a:xfrm>
            <a:off x="646037" y="1459444"/>
            <a:ext cx="4516576" cy="5091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latinLnBrk="0">
              <a:lnSpc>
                <a:spcPct val="200000"/>
              </a:lnSpc>
              <a:spcBef>
                <a:spcPts val="0"/>
              </a:spcBef>
              <a:buNone/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○ Arduino / Robot Control Part</a:t>
            </a:r>
            <a:endParaRPr lang="en-US" altLang="ko-KR" sz="16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0E94F5D2-70C9-3B9E-AB96-558BB12A4F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21527" y="828493"/>
            <a:ext cx="4293285" cy="1150086"/>
          </a:xfrm>
          <a:prstGeom prst="rect">
            <a:avLst/>
          </a:prstGeom>
        </p:spPr>
      </p:pic>
      <p:sp>
        <p:nvSpPr>
          <p:cNvPr id="36" name="직사각형 35">
            <a:extLst>
              <a:ext uri="{FF2B5EF4-FFF2-40B4-BE49-F238E27FC236}">
                <a16:creationId xmlns:a16="http://schemas.microsoft.com/office/drawing/2014/main" id="{8A9426F7-566A-A74D-F9AF-DE1B5769A54F}"/>
              </a:ext>
            </a:extLst>
          </p:cNvPr>
          <p:cNvSpPr/>
          <p:nvPr/>
        </p:nvSpPr>
        <p:spPr>
          <a:xfrm>
            <a:off x="9058137" y="806515"/>
            <a:ext cx="2934409" cy="1172064"/>
          </a:xfrm>
          <a:prstGeom prst="rect">
            <a:avLst/>
          </a:prstGeom>
          <a:solidFill>
            <a:schemeClr val="accent5">
              <a:alpha val="50000"/>
            </a:schemeClr>
          </a:solidFill>
          <a:ln w="38100">
            <a:solidFill>
              <a:srgbClr val="7030A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모서리가 둥근 직사각형 7">
            <a:extLst>
              <a:ext uri="{FF2B5EF4-FFF2-40B4-BE49-F238E27FC236}">
                <a16:creationId xmlns:a16="http://schemas.microsoft.com/office/drawing/2014/main" id="{FC9523F1-976E-0A7E-3262-77D4F7283DD7}"/>
              </a:ext>
            </a:extLst>
          </p:cNvPr>
          <p:cNvSpPr/>
          <p:nvPr/>
        </p:nvSpPr>
        <p:spPr>
          <a:xfrm>
            <a:off x="646037" y="2440440"/>
            <a:ext cx="4821916" cy="3908990"/>
          </a:xfrm>
          <a:prstGeom prst="rect">
            <a:avLst/>
          </a:prstGeom>
          <a:noFill/>
          <a:ln w="9525">
            <a:solidFill>
              <a:schemeClr val="accent1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3345C358-427D-8AB8-3219-E914E58FE094}"/>
              </a:ext>
            </a:extLst>
          </p:cNvPr>
          <p:cNvSpPr/>
          <p:nvPr/>
        </p:nvSpPr>
        <p:spPr>
          <a:xfrm>
            <a:off x="829016" y="2300059"/>
            <a:ext cx="32758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2) Data Acquisition from Arduino</a:t>
            </a:r>
            <a:endParaRPr lang="ko-KR" altLang="en-US" sz="1600" dirty="0">
              <a:latin typeface="Arial" panose="020B0604020202020204" pitchFamily="34" charset="0"/>
              <a:ea typeface="현대하모니 B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1340342F-80D4-DBD2-FB5F-7368BF70C6A7}"/>
              </a:ext>
            </a:extLst>
          </p:cNvPr>
          <p:cNvSpPr/>
          <p:nvPr/>
        </p:nvSpPr>
        <p:spPr>
          <a:xfrm>
            <a:off x="5845378" y="2300059"/>
            <a:ext cx="1773471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3) Robot Control</a:t>
            </a:r>
            <a:endParaRPr lang="ko-KR" altLang="en-US" sz="1600" dirty="0">
              <a:latin typeface="Arial" panose="020B0604020202020204" pitchFamily="34" charset="0"/>
              <a:ea typeface="현대하모니 B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70104C7-2C4F-69D1-5107-B74936C0B5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3" y="942802"/>
            <a:ext cx="6003667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obot system for motion tracking and precise parsing</a:t>
            </a:r>
          </a:p>
        </p:txBody>
      </p:sp>
    </p:spTree>
    <p:extLst>
      <p:ext uri="{BB962C8B-B14F-4D97-AF65-F5344CB8AC3E}">
        <p14:creationId xmlns:p14="http://schemas.microsoft.com/office/powerpoint/2010/main" val="408079078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모서리가 둥근 직사각형 7">
            <a:extLst>
              <a:ext uri="{FF2B5EF4-FFF2-40B4-BE49-F238E27FC236}">
                <a16:creationId xmlns:a16="http://schemas.microsoft.com/office/drawing/2014/main" id="{0D3D32AF-80FB-48F7-C696-DCCE15DAA2C9}"/>
              </a:ext>
            </a:extLst>
          </p:cNvPr>
          <p:cNvSpPr/>
          <p:nvPr/>
        </p:nvSpPr>
        <p:spPr>
          <a:xfrm>
            <a:off x="422745" y="1060465"/>
            <a:ext cx="11346510" cy="546342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36D1CF-83F0-4EC8-4EE6-0A6AEAD33C9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Contents	</a:t>
            </a:r>
            <a:endParaRPr lang="ko-KR" alt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27E92B14-8EC4-5F54-1546-21DD2534283A}"/>
              </a:ext>
            </a:extLst>
          </p:cNvPr>
          <p:cNvSpPr/>
          <p:nvPr/>
        </p:nvSpPr>
        <p:spPr>
          <a:xfrm>
            <a:off x="632611" y="1592360"/>
            <a:ext cx="3369234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Performance Evaluation Metho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61FD50E-7CC5-DCDA-F1C7-6D0F84F7C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C0CFA0A8-134C-04EC-C319-CEB22AE348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AutoShape 2">
            <a:extLst>
              <a:ext uri="{FF2B5EF4-FFF2-40B4-BE49-F238E27FC236}">
                <a16:creationId xmlns:a16="http://schemas.microsoft.com/office/drawing/2014/main" id="{17FD679E-B057-DBAA-EA55-B7E915E254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3" y="942802"/>
            <a:ext cx="6003667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obot system for motion tracking and precise parsing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DC5B8406-DF8F-5190-29A7-D2E1F4F509F1}"/>
              </a:ext>
            </a:extLst>
          </p:cNvPr>
          <p:cNvSpPr/>
          <p:nvPr/>
        </p:nvSpPr>
        <p:spPr>
          <a:xfrm>
            <a:off x="6096000" y="1592360"/>
            <a:ext cx="2606936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Performance Evaluation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A854B68D-FE42-408B-31C5-EE07D0F0CB30}"/>
              </a:ext>
            </a:extLst>
          </p:cNvPr>
          <p:cNvGrpSpPr/>
          <p:nvPr/>
        </p:nvGrpSpPr>
        <p:grpSpPr>
          <a:xfrm>
            <a:off x="887101" y="3898048"/>
            <a:ext cx="4647058" cy="1665557"/>
            <a:chOff x="887101" y="4502560"/>
            <a:chExt cx="4647058" cy="1665557"/>
          </a:xfrm>
        </p:grpSpPr>
        <p:pic>
          <p:nvPicPr>
            <p:cNvPr id="14" name="그림 13">
              <a:extLst>
                <a:ext uri="{FF2B5EF4-FFF2-40B4-BE49-F238E27FC236}">
                  <a16:creationId xmlns:a16="http://schemas.microsoft.com/office/drawing/2014/main" id="{FBD87CC5-0B02-59B2-CE9F-1EFDE5562A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4343" t="13842" r="20902" b="8657"/>
            <a:stretch/>
          </p:blipFill>
          <p:spPr>
            <a:xfrm>
              <a:off x="887101" y="4502560"/>
              <a:ext cx="1348098" cy="1665557"/>
            </a:xfrm>
            <a:prstGeom prst="rect">
              <a:avLst/>
            </a:prstGeom>
          </p:spPr>
        </p:pic>
        <p:pic>
          <p:nvPicPr>
            <p:cNvPr id="19" name="그림 18">
              <a:extLst>
                <a:ext uri="{FF2B5EF4-FFF2-40B4-BE49-F238E27FC236}">
                  <a16:creationId xmlns:a16="http://schemas.microsoft.com/office/drawing/2014/main" id="{4D2053AC-7171-46A3-8ACD-B924B1EDF2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42511" t="11766" r="16431" b="11686"/>
            <a:stretch/>
          </p:blipFill>
          <p:spPr>
            <a:xfrm>
              <a:off x="2536581" y="4502561"/>
              <a:ext cx="1348098" cy="1665556"/>
            </a:xfrm>
            <a:prstGeom prst="rect">
              <a:avLst/>
            </a:prstGeom>
          </p:spPr>
        </p:pic>
        <p:pic>
          <p:nvPicPr>
            <p:cNvPr id="21" name="그림 20">
              <a:extLst>
                <a:ext uri="{FF2B5EF4-FFF2-40B4-BE49-F238E27FC236}">
                  <a16:creationId xmlns:a16="http://schemas.microsoft.com/office/drawing/2014/main" id="{6BEE665C-1A11-D6E1-B166-A28306B1E3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6673" t="13664" r="11503" b="10118"/>
            <a:stretch/>
          </p:blipFill>
          <p:spPr>
            <a:xfrm>
              <a:off x="4186061" y="4502560"/>
              <a:ext cx="1348098" cy="1665556"/>
            </a:xfrm>
            <a:prstGeom prst="rect">
              <a:avLst/>
            </a:prstGeom>
          </p:spPr>
        </p:pic>
      </p:grpSp>
      <p:sp>
        <p:nvSpPr>
          <p:cNvPr id="9" name="직사각형 125">
            <a:extLst>
              <a:ext uri="{FF2B5EF4-FFF2-40B4-BE49-F238E27FC236}">
                <a16:creationId xmlns:a16="http://schemas.microsoft.com/office/drawing/2014/main" id="{57B81E17-76B7-C9D6-17D7-9C7B3E9FA2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611" y="1946732"/>
            <a:ext cx="4901548" cy="167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ko-KR" sz="16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" panose="020B0604020202020204" pitchFamily="34" charset="0"/>
                <a:ea typeface="inherit"/>
                <a:cs typeface="Arial" panose="020B0604020202020204" pitchFamily="34" charset="0"/>
              </a:rPr>
              <a:t>Reference angle</a:t>
            </a:r>
            <a:r>
              <a:rPr kumimoji="0" lang="ko-KR" altLang="ko-KR" sz="16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" panose="020B0604020202020204" pitchFamily="34" charset="0"/>
                <a:ea typeface="inherit"/>
                <a:cs typeface="Arial" panose="020B0604020202020204" pitchFamily="34" charset="0"/>
              </a:rPr>
              <a:t> </a:t>
            </a:r>
            <a:r>
              <a:rPr kumimoji="0" lang="en-US" altLang="ko-KR" sz="16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" panose="020B0604020202020204" pitchFamily="34" charset="0"/>
                <a:ea typeface="inherit"/>
                <a:cs typeface="Arial" panose="020B0604020202020204" pitchFamily="34" charset="0"/>
              </a:rPr>
              <a:t>acquisition using a protractor</a:t>
            </a: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ko-KR" sz="16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" panose="020B0604020202020204" pitchFamily="34" charset="0"/>
                <a:ea typeface="inherit"/>
                <a:cs typeface="Arial" panose="020B0604020202020204" pitchFamily="34" charset="0"/>
              </a:rPr>
              <a:t>Relative angle error measurement after catching object</a:t>
            </a: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ko-KR" sz="16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" panose="020B0604020202020204" pitchFamily="34" charset="0"/>
                <a:ea typeface="inherit"/>
                <a:cs typeface="Arial" panose="020B0604020202020204" pitchFamily="34" charset="0"/>
              </a:rPr>
              <a:t>Using plain / long / thick objects</a:t>
            </a: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ko-KR" altLang="ko-KR" sz="5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ko-KR" altLang="ko-K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520D80AA-CD21-9EC7-C4CD-37CA16EFAB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15" name="표 3">
                <a:extLst>
                  <a:ext uri="{FF2B5EF4-FFF2-40B4-BE49-F238E27FC236}">
                    <a16:creationId xmlns:a16="http://schemas.microsoft.com/office/drawing/2014/main" id="{FD73B026-2D42-1DA6-7EEE-EEEF39F721B9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650628341"/>
                  </p:ext>
                </p:extLst>
              </p:nvPr>
            </p:nvGraphicFramePr>
            <p:xfrm>
              <a:off x="6102977" y="2117647"/>
              <a:ext cx="5126003" cy="21336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738071">
                      <a:extLst>
                        <a:ext uri="{9D8B030D-6E8A-4147-A177-3AD203B41FA5}">
                          <a16:colId xmlns:a16="http://schemas.microsoft.com/office/drawing/2014/main" val="4271116476"/>
                        </a:ext>
                      </a:extLst>
                    </a:gridCol>
                    <a:gridCol w="1462644">
                      <a:extLst>
                        <a:ext uri="{9D8B030D-6E8A-4147-A177-3AD203B41FA5}">
                          <a16:colId xmlns:a16="http://schemas.microsoft.com/office/drawing/2014/main" val="2447964590"/>
                        </a:ext>
                      </a:extLst>
                    </a:gridCol>
                    <a:gridCol w="1462644">
                      <a:extLst>
                        <a:ext uri="{9D8B030D-6E8A-4147-A177-3AD203B41FA5}">
                          <a16:colId xmlns:a16="http://schemas.microsoft.com/office/drawing/2014/main" val="3034857685"/>
                        </a:ext>
                      </a:extLst>
                    </a:gridCol>
                    <a:gridCol w="1462644">
                      <a:extLst>
                        <a:ext uri="{9D8B030D-6E8A-4147-A177-3AD203B41FA5}">
                          <a16:colId xmlns:a16="http://schemas.microsoft.com/office/drawing/2014/main" val="947508769"/>
                        </a:ext>
                      </a:extLst>
                    </a:gridCol>
                  </a:tblGrid>
                  <a:tr h="259080">
                    <a:tc rowSpan="2"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# trial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 gridSpan="3"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Relative angle error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Description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95692625"/>
                      </a:ext>
                    </a:extLst>
                  </a:tr>
                  <a:tr h="259080">
                    <a:tc vMerge="1">
                      <a:txBody>
                        <a:bodyPr/>
                        <a:lstStyle/>
                        <a:p>
                          <a:pPr latinLnBrk="1"/>
                          <a:endParaRPr lang="ko-KR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Plain </a:t>
                          </a:r>
                          <a14:m>
                            <m:oMath xmlns:m="http://schemas.openxmlformats.org/officeDocument/2006/math">
                              <m:r>
                                <a:rPr lang="en-US" altLang="ko-KR" sz="1400" b="1" i="1" dirty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[°]</m:t>
                              </m:r>
                            </m:oMath>
                          </a14:m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Long </a:t>
                          </a:r>
                          <a14:m>
                            <m:oMath xmlns:m="http://schemas.openxmlformats.org/officeDocument/2006/math">
                              <m:r>
                                <a:rPr lang="en-US" altLang="ko-KR" sz="1400" b="1" i="1" dirty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[°]</m:t>
                              </m:r>
                            </m:oMath>
                          </a14:m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Thick </a:t>
                          </a:r>
                          <a14:m>
                            <m:oMath xmlns:m="http://schemas.openxmlformats.org/officeDocument/2006/math">
                              <m:r>
                                <a:rPr lang="en-US" altLang="ko-KR" sz="1400" b="1" i="1" dirty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[°]</m:t>
                              </m:r>
                            </m:oMath>
                          </a14:m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7247816"/>
                      </a:ext>
                    </a:extLst>
                  </a:tr>
                  <a:tr h="169077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altLang="ko-KR" sz="1400" b="1" i="0" dirty="0">
                              <a:solidFill>
                                <a:schemeClr val="tx1"/>
                              </a:solidFill>
                              <a:latin typeface="Arial" panose="020B0604020202020204" pitchFamily="34" charset="0"/>
                              <a:cs typeface="Arial" panose="020B0604020202020204" pitchFamily="34" charset="0"/>
                            </a:rPr>
                            <a:t>1</a:t>
                          </a:r>
                          <a:endParaRPr lang="ko-KR" altLang="en-US" sz="1400" b="1" i="0" dirty="0">
                            <a:solidFill>
                              <a:schemeClr val="tx1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altLang="ko-KR" sz="1400" i="0" dirty="0">
                              <a:solidFill>
                                <a:schemeClr val="tx1"/>
                              </a:solidFill>
                              <a:latin typeface="Arial" panose="020B0604020202020204" pitchFamily="34" charset="0"/>
                              <a:cs typeface="Arial" panose="020B0604020202020204" pitchFamily="34" charset="0"/>
                            </a:rPr>
                            <a:t>-10</a:t>
                          </a:r>
                          <a:endParaRPr lang="ko-KR" altLang="en-US" sz="1400" i="0" dirty="0">
                            <a:solidFill>
                              <a:schemeClr val="tx1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4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21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410554225"/>
                      </a:ext>
                    </a:extLst>
                  </a:tr>
                  <a:tr h="169077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i="0" dirty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ko-KR" altLang="en-US" sz="1400" b="1" i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-11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18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4294949604"/>
                      </a:ext>
                    </a:extLst>
                  </a:tr>
                  <a:tr h="169077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i="0" dirty="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ko-KR" altLang="en-US" sz="1400" b="1" i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7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-4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7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762004829"/>
                      </a:ext>
                    </a:extLst>
                  </a:tr>
                  <a:tr h="169077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i="0" dirty="0">
                              <a:solidFill>
                                <a:schemeClr val="tx1"/>
                              </a:solidFill>
                            </a:rPr>
                            <a:t>4</a:t>
                          </a:r>
                          <a:endParaRPr lang="ko-KR" altLang="en-US" sz="1400" b="1" i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-7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-1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18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858202929"/>
                      </a:ext>
                    </a:extLst>
                  </a:tr>
                  <a:tr h="169077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i="0" dirty="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ko-KR" altLang="en-US" sz="1400" b="1" i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8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7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999473781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15" name="표 3">
                <a:extLst>
                  <a:ext uri="{FF2B5EF4-FFF2-40B4-BE49-F238E27FC236}">
                    <a16:creationId xmlns:a16="http://schemas.microsoft.com/office/drawing/2014/main" id="{FD73B026-2D42-1DA6-7EEE-EEEF39F721B9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650628341"/>
                  </p:ext>
                </p:extLst>
              </p:nvPr>
            </p:nvGraphicFramePr>
            <p:xfrm>
              <a:off x="6102977" y="2117647"/>
              <a:ext cx="5126003" cy="21336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738071">
                      <a:extLst>
                        <a:ext uri="{9D8B030D-6E8A-4147-A177-3AD203B41FA5}">
                          <a16:colId xmlns:a16="http://schemas.microsoft.com/office/drawing/2014/main" val="4271116476"/>
                        </a:ext>
                      </a:extLst>
                    </a:gridCol>
                    <a:gridCol w="1462644">
                      <a:extLst>
                        <a:ext uri="{9D8B030D-6E8A-4147-A177-3AD203B41FA5}">
                          <a16:colId xmlns:a16="http://schemas.microsoft.com/office/drawing/2014/main" val="2447964590"/>
                        </a:ext>
                      </a:extLst>
                    </a:gridCol>
                    <a:gridCol w="1462644">
                      <a:extLst>
                        <a:ext uri="{9D8B030D-6E8A-4147-A177-3AD203B41FA5}">
                          <a16:colId xmlns:a16="http://schemas.microsoft.com/office/drawing/2014/main" val="3034857685"/>
                        </a:ext>
                      </a:extLst>
                    </a:gridCol>
                    <a:gridCol w="1462644">
                      <a:extLst>
                        <a:ext uri="{9D8B030D-6E8A-4147-A177-3AD203B41FA5}">
                          <a16:colId xmlns:a16="http://schemas.microsoft.com/office/drawing/2014/main" val="947508769"/>
                        </a:ext>
                      </a:extLst>
                    </a:gridCol>
                  </a:tblGrid>
                  <a:tr h="304800">
                    <a:tc rowSpan="2"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# trial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 gridSpan="3"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Relative angle error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dirty="0">
                              <a:solidFill>
                                <a:schemeClr val="tx1"/>
                              </a:solidFill>
                            </a:rPr>
                            <a:t>Description</a:t>
                          </a:r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pPr algn="ctr" latinLnBrk="1"/>
                          <a:endParaRPr lang="ko-KR" altLang="en-US" sz="14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7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95692625"/>
                      </a:ext>
                    </a:extLst>
                  </a:tr>
                  <a:tr h="304800">
                    <a:tc vMerge="1">
                      <a:txBody>
                        <a:bodyPr/>
                        <a:lstStyle/>
                        <a:p>
                          <a:pPr latinLnBrk="1"/>
                          <a:endParaRPr lang="ko-KR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50833" t="-102000" r="-201250" b="-52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150207" t="-102000" r="-100415" b="-52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251250" t="-102000" r="-833" b="-52200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7247816"/>
                      </a:ext>
                    </a:extLst>
                  </a:tr>
                  <a:tr h="304800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altLang="ko-KR" sz="1400" b="1" i="0" dirty="0">
                              <a:solidFill>
                                <a:schemeClr val="tx1"/>
                              </a:solidFill>
                              <a:latin typeface="Arial" panose="020B0604020202020204" pitchFamily="34" charset="0"/>
                              <a:cs typeface="Arial" panose="020B0604020202020204" pitchFamily="34" charset="0"/>
                            </a:rPr>
                            <a:t>1</a:t>
                          </a:r>
                          <a:endParaRPr lang="ko-KR" altLang="en-US" sz="1400" b="1" i="0" dirty="0">
                            <a:solidFill>
                              <a:schemeClr val="tx1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altLang="ko-KR" sz="1400" i="0" dirty="0">
                              <a:solidFill>
                                <a:schemeClr val="tx1"/>
                              </a:solidFill>
                              <a:latin typeface="Arial" panose="020B0604020202020204" pitchFamily="34" charset="0"/>
                              <a:cs typeface="Arial" panose="020B0604020202020204" pitchFamily="34" charset="0"/>
                            </a:rPr>
                            <a:t>-10</a:t>
                          </a:r>
                          <a:endParaRPr lang="ko-KR" altLang="en-US" sz="1400" i="0" dirty="0">
                            <a:solidFill>
                              <a:schemeClr val="tx1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4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21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410554225"/>
                      </a:ext>
                    </a:extLst>
                  </a:tr>
                  <a:tr h="304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i="0" dirty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ko-KR" altLang="en-US" sz="1400" b="1" i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-11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18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4294949604"/>
                      </a:ext>
                    </a:extLst>
                  </a:tr>
                  <a:tr h="304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i="0" dirty="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ko-KR" altLang="en-US" sz="1400" b="1" i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7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-4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7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762004829"/>
                      </a:ext>
                    </a:extLst>
                  </a:tr>
                  <a:tr h="304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i="0" dirty="0">
                              <a:solidFill>
                                <a:schemeClr val="tx1"/>
                              </a:solidFill>
                            </a:rPr>
                            <a:t>4</a:t>
                          </a:r>
                          <a:endParaRPr lang="ko-KR" altLang="en-US" sz="1400" b="1" i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-7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-1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18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858202929"/>
                      </a:ext>
                    </a:extLst>
                  </a:tr>
                  <a:tr h="30480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b="1" i="0" dirty="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ko-KR" altLang="en-US" sz="1400" b="1" i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8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400" dirty="0">
                              <a:solidFill>
                                <a:schemeClr val="tx1"/>
                              </a:solidFill>
                            </a:rPr>
                            <a:t>7</a:t>
                          </a:r>
                          <a:endParaRPr lang="ko-KR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8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999473781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199A9AEA-1BB0-820F-FAED-78136B1D0CBE}"/>
                  </a:ext>
                </a:extLst>
              </p:cNvPr>
              <p:cNvSpPr txBox="1"/>
              <p:nvPr/>
            </p:nvSpPr>
            <p:spPr>
              <a:xfrm>
                <a:off x="6096000" y="4274292"/>
                <a:ext cx="5208899" cy="4565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marR="0" lvl="0" indent="-285750" algn="l" defTabSz="914400" rtl="0" eaLnBrk="0" fontAlgn="base" latinLnBrk="0" hangingPunct="0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</a:pPr>
                <a:r>
                  <a:rPr kumimoji="0" lang="en-US" altLang="ko-KR" sz="1800" b="0" i="0" u="none" strike="noStrike" cap="none" normalizeH="0" baseline="0" dirty="0">
                    <a:ln>
                      <a:noFill/>
                    </a:ln>
                    <a:solidFill>
                      <a:srgbClr val="202124"/>
                    </a:solidFill>
                    <a:effectLst/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Average relative angle error: 8.6 [</a:t>
                </a:r>
                <a14:m>
                  <m:oMath xmlns:m="http://schemas.openxmlformats.org/officeDocument/2006/math">
                    <m:r>
                      <a:rPr lang="en-US" altLang="ko-KR" i="1" dirty="0" smtClean="0">
                        <a:solidFill>
                          <a:srgbClr val="202124"/>
                        </a:solidFill>
                        <a:latin typeface="Cambria Math" panose="02040503050406030204" pitchFamily="18" charset="0"/>
                        <a:ea typeface="inherit"/>
                      </a:rPr>
                      <m:t>°</m:t>
                    </m:r>
                  </m:oMath>
                </a14:m>
                <a:r>
                  <a:rPr kumimoji="0" lang="en-US" altLang="ko-KR" sz="1800" b="0" i="0" u="none" strike="noStrike" cap="none" normalizeH="0" baseline="0" dirty="0">
                    <a:ln>
                      <a:noFill/>
                    </a:ln>
                    <a:solidFill>
                      <a:srgbClr val="202124"/>
                    </a:solidFill>
                    <a:effectLst/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]</a:t>
                </a:r>
              </a:p>
            </p:txBody>
          </p:sp>
        </mc:Choice>
        <mc:Fallback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199A9AEA-1BB0-820F-FAED-78136B1D0C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4274292"/>
                <a:ext cx="5208899" cy="456535"/>
              </a:xfrm>
              <a:prstGeom prst="rect">
                <a:avLst/>
              </a:prstGeom>
              <a:blipFill>
                <a:blip r:embed="rId8"/>
                <a:stretch>
                  <a:fillRect l="-703" b="-21333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4A06E9AB-1164-82B5-A8C3-D47E1BC7FA46}"/>
              </a:ext>
            </a:extLst>
          </p:cNvPr>
          <p:cNvSpPr txBox="1"/>
          <p:nvPr/>
        </p:nvSpPr>
        <p:spPr>
          <a:xfrm>
            <a:off x="820127" y="5639542"/>
            <a:ext cx="4901548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" panose="020B0604020202020204" pitchFamily="34" charset="0"/>
                <a:ea typeface="inherit"/>
                <a:cs typeface="Arial" panose="020B0604020202020204" pitchFamily="34" charset="0"/>
              </a:rPr>
              <a:t>Relative angle error measurement</a:t>
            </a:r>
          </a:p>
        </p:txBody>
      </p:sp>
    </p:spTree>
    <p:extLst>
      <p:ext uri="{BB962C8B-B14F-4D97-AF65-F5344CB8AC3E}">
        <p14:creationId xmlns:p14="http://schemas.microsoft.com/office/powerpoint/2010/main" val="264342903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모서리가 둥근 직사각형 7">
            <a:extLst>
              <a:ext uri="{FF2B5EF4-FFF2-40B4-BE49-F238E27FC236}">
                <a16:creationId xmlns:a16="http://schemas.microsoft.com/office/drawing/2014/main" id="{0D3D32AF-80FB-48F7-C696-DCCE15DAA2C9}"/>
              </a:ext>
            </a:extLst>
          </p:cNvPr>
          <p:cNvSpPr/>
          <p:nvPr/>
        </p:nvSpPr>
        <p:spPr>
          <a:xfrm>
            <a:off x="422745" y="1060465"/>
            <a:ext cx="11346510" cy="546342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  <a:p>
            <a:pPr>
              <a:defRPr/>
            </a:pPr>
            <a:endParaRPr lang="en-US" altLang="ko-KR" sz="1400">
              <a:solidFill>
                <a:schemeClr val="tx1"/>
              </a:solidFill>
              <a:latin typeface="Arial" panose="020B0604020202020204" pitchFamily="34" charset="0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" name="AutoShape 2">
            <a:extLst>
              <a:ext uri="{FF2B5EF4-FFF2-40B4-BE49-F238E27FC236}">
                <a16:creationId xmlns:a16="http://schemas.microsoft.com/office/drawing/2014/main" id="{48304149-7C1D-FB09-FFC4-9315ACBC5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4" y="942802"/>
            <a:ext cx="2186892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esearch resul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36D1CF-83F0-4EC8-4EE6-0A6AEAD33C9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 	</a:t>
            </a:r>
            <a:endParaRPr lang="ko-KR" alt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20453639-C312-F9C4-7CD7-652393E9C786}"/>
              </a:ext>
            </a:extLst>
          </p:cNvPr>
          <p:cNvSpPr/>
          <p:nvPr/>
        </p:nvSpPr>
        <p:spPr>
          <a:xfrm>
            <a:off x="662261" y="1532234"/>
            <a:ext cx="2425184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Research Conclus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61FD50E-7CC5-DCDA-F1C7-6D0F84F7C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C0CFA0A8-134C-04EC-C319-CEB22AE348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4030C6B5-4BF8-338F-7B57-66C01E2DF6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2">
            <a:extLst>
              <a:ext uri="{FF2B5EF4-FFF2-40B4-BE49-F238E27FC236}">
                <a16:creationId xmlns:a16="http://schemas.microsoft.com/office/drawing/2014/main" id="{C20129F4-220B-ACF2-9CC0-26EC5F5278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CFDAB840-6901-ECCD-A5E4-71C06651F3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4">
            <a:extLst>
              <a:ext uri="{FF2B5EF4-FFF2-40B4-BE49-F238E27FC236}">
                <a16:creationId xmlns:a16="http://schemas.microsoft.com/office/drawing/2014/main" id="{8BA647A6-FBC4-002A-5530-12622C87F2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02001252-74AC-B887-38AA-2878DCB380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40DA98A9-321E-CC74-67B1-A870D5CE12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57AA1BEA-502E-0A93-B4FD-4DEAE40A94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1544A7DC-1EF0-2E41-BDD1-E774AC9F1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D832C10-4CB2-5B82-5B15-C261846081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 6">
            <a:extLst>
              <a:ext uri="{FF2B5EF4-FFF2-40B4-BE49-F238E27FC236}">
                <a16:creationId xmlns:a16="http://schemas.microsoft.com/office/drawing/2014/main" id="{1BFA5858-DED0-5785-D4AA-8F29378FB6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52AC1A10-0A7C-F5D2-F0A6-D7C9B853C65B}"/>
              </a:ext>
            </a:extLst>
          </p:cNvPr>
          <p:cNvSpPr/>
          <p:nvPr/>
        </p:nvSpPr>
        <p:spPr>
          <a:xfrm>
            <a:off x="662260" y="3651619"/>
            <a:ext cx="2098695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Expected Outcom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AFD4A8-0D6E-8343-0891-CC08CBDC11A0}"/>
              </a:ext>
            </a:extLst>
          </p:cNvPr>
          <p:cNvSpPr txBox="1"/>
          <p:nvPr/>
        </p:nvSpPr>
        <p:spPr>
          <a:xfrm>
            <a:off x="662260" y="1840011"/>
            <a:ext cx="10320814" cy="7849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obot system for motion tracking and precise parsing development complete</a:t>
            </a:r>
            <a:endParaRPr lang="en-US" altLang="ko-KR" sz="16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Average relative angle error: 8.6 [°], </a:t>
            </a:r>
            <a:r>
              <a:rPr lang="en-US" altLang="ko-K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achieved</a:t>
            </a:r>
            <a:endParaRPr lang="en-US" altLang="ko-K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DEC9CC2-D720-ED5F-BB3B-34830D659471}"/>
                  </a:ext>
                </a:extLst>
              </p:cNvPr>
              <p:cNvSpPr txBox="1"/>
              <p:nvPr/>
            </p:nvSpPr>
            <p:spPr>
              <a:xfrm>
                <a:off x="544340" y="3975835"/>
                <a:ext cx="5605188" cy="7853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lvl="0" indent="-285750" eaLnBrk="0" fontAlgn="base" latinLnBrk="0" hangingPunct="0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lang="en-US" altLang="ko-KR" sz="1600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Life loss</a:t>
                </a:r>
                <a:r>
                  <a:rPr lang="ko-KR" altLang="ko-KR" sz="1600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 </a:t>
                </a:r>
                <a:r>
                  <a:rPr lang="en-US" altLang="ko-KR" sz="1600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reduction during</a:t>
                </a:r>
                <a:r>
                  <a:rPr lang="ko-KR" altLang="ko-KR" sz="1600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 </a:t>
                </a:r>
                <a:r>
                  <a:rPr lang="en-US" altLang="ko-KR" sz="1600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recovery</a:t>
                </a:r>
                <a:r>
                  <a:rPr lang="ko-KR" altLang="ko-KR" sz="1600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 </a:t>
                </a:r>
                <a:r>
                  <a:rPr lang="en-US" altLang="ko-KR" sz="1600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operations</a:t>
                </a:r>
              </a:p>
              <a:p>
                <a:pPr marL="285750" lvl="0" indent="-285750" eaLnBrk="0" fontAlgn="base" latinLnBrk="0" hangingPunct="0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lang="en-US" altLang="ko-KR" sz="1600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Work efficiency increase (ex. object conveying speed </a:t>
                </a:r>
                <a14:m>
                  <m:oMath xmlns:m="http://schemas.openxmlformats.org/officeDocument/2006/math">
                    <m:r>
                      <a:rPr lang="en-US" altLang="ko-KR" sz="1600" i="1" smtClean="0">
                        <a:solidFill>
                          <a:srgbClr val="202124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↑</m:t>
                    </m:r>
                  </m:oMath>
                </a14:m>
                <a:r>
                  <a:rPr lang="en-US" altLang="ko-KR" sz="1600" dirty="0">
                    <a:solidFill>
                      <a:srgbClr val="202124"/>
                    </a:solidFill>
                    <a:latin typeface="Arial" panose="020B0604020202020204" pitchFamily="34" charset="0"/>
                    <a:ea typeface="inherit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DEC9CC2-D720-ED5F-BB3B-34830D659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4340" y="3975835"/>
                <a:ext cx="5605188" cy="785343"/>
              </a:xfrm>
              <a:prstGeom prst="rect">
                <a:avLst/>
              </a:prstGeom>
              <a:blipFill>
                <a:blip r:embed="rId4"/>
                <a:stretch>
                  <a:fillRect l="-435" b="-930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Rectangle 4">
            <a:extLst>
              <a:ext uri="{FF2B5EF4-FFF2-40B4-BE49-F238E27FC236}">
                <a16:creationId xmlns:a16="http://schemas.microsoft.com/office/drawing/2014/main" id="{69BF2B36-D709-72BA-C0B8-2BCF29B4F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8181903C-FA20-CA29-E28A-2ABE4BE4D781}"/>
              </a:ext>
            </a:extLst>
          </p:cNvPr>
          <p:cNvCxnSpPr>
            <a:cxnSpLocks/>
          </p:cNvCxnSpPr>
          <p:nvPr/>
        </p:nvCxnSpPr>
        <p:spPr>
          <a:xfrm flipH="1">
            <a:off x="422744" y="3412560"/>
            <a:ext cx="11346511" cy="0"/>
          </a:xfrm>
          <a:prstGeom prst="line">
            <a:avLst/>
          </a:prstGeom>
          <a:ln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1">
            <a:extLst>
              <a:ext uri="{FF2B5EF4-FFF2-40B4-BE49-F238E27FC236}">
                <a16:creationId xmlns:a16="http://schemas.microsoft.com/office/drawing/2014/main" id="{30D84F0D-39D2-1C53-FDA6-6A9F6BEB32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24DDCA56-77FD-BD1E-7404-0E21B87E3BF8}"/>
              </a:ext>
            </a:extLst>
          </p:cNvPr>
          <p:cNvSpPr/>
          <p:nvPr/>
        </p:nvSpPr>
        <p:spPr>
          <a:xfrm>
            <a:off x="6215757" y="3651618"/>
            <a:ext cx="2098695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Improvemen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76626A-FCEA-837E-68A8-E9BCDC4FED8A}"/>
              </a:ext>
            </a:extLst>
          </p:cNvPr>
          <p:cNvSpPr txBox="1"/>
          <p:nvPr/>
        </p:nvSpPr>
        <p:spPr>
          <a:xfrm>
            <a:off x="6215757" y="3969240"/>
            <a:ext cx="5433740" cy="22626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A variety of objects recognition using object’s featu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Automatic grip off in various / accurate posit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Angle measurement performance improvement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     (ex. Camera calibration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Wireless camera connection using embedded board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latin typeface="Arial" panose="020B0604020202020204" pitchFamily="34" charset="0"/>
                <a:cs typeface="Arial" panose="020B0604020202020204" pitchFamily="34" charset="0"/>
              </a:rPr>
              <a:t>     (ex. Jetson Nano) </a:t>
            </a:r>
          </a:p>
        </p:txBody>
      </p:sp>
      <p:sp>
        <p:nvSpPr>
          <p:cNvPr id="20" name="Rectangle 1">
            <a:extLst>
              <a:ext uri="{FF2B5EF4-FFF2-40B4-BE49-F238E27FC236}">
                <a16:creationId xmlns:a16="http://schemas.microsoft.com/office/drawing/2014/main" id="{8C8D0649-ED4F-3286-0C3E-446539446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03CE1A33-3C78-45BF-A6F9-47668871E3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1BA54F42-9FF0-F8CF-2354-36871ABEC6E7}"/>
              </a:ext>
            </a:extLst>
          </p:cNvPr>
          <p:cNvCxnSpPr>
            <a:cxnSpLocks/>
          </p:cNvCxnSpPr>
          <p:nvPr/>
        </p:nvCxnSpPr>
        <p:spPr>
          <a:xfrm>
            <a:off x="6083298" y="3429000"/>
            <a:ext cx="0" cy="3094893"/>
          </a:xfrm>
          <a:prstGeom prst="line">
            <a:avLst/>
          </a:prstGeom>
          <a:ln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3">
            <a:extLst>
              <a:ext uri="{FF2B5EF4-FFF2-40B4-BE49-F238E27FC236}">
                <a16:creationId xmlns:a16="http://schemas.microsoft.com/office/drawing/2014/main" id="{134ED27F-4379-2D4F-71E3-5E69785E67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233135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29</TotalTime>
  <Words>863</Words>
  <Application>Microsoft Office PowerPoint</Application>
  <PresentationFormat>와이드스크린</PresentationFormat>
  <Paragraphs>208</Paragraphs>
  <Slides>10</Slides>
  <Notes>10</Notes>
  <HiddenSlides>0</HiddenSlides>
  <MMClips>1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9" baseType="lpstr">
      <vt:lpstr>Arial Unicode MS</vt:lpstr>
      <vt:lpstr>noto</vt:lpstr>
      <vt:lpstr>맑은 고딕</vt:lpstr>
      <vt:lpstr>현대하모니 B</vt:lpstr>
      <vt:lpstr>현대하모니 M</vt:lpstr>
      <vt:lpstr>Arial</vt:lpstr>
      <vt:lpstr>Cambria Math</vt:lpstr>
      <vt:lpstr>Times New Roman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송태웅</dc:creator>
  <cp:lastModifiedBy>송태웅</cp:lastModifiedBy>
  <cp:revision>1082</cp:revision>
  <dcterms:created xsi:type="dcterms:W3CDTF">2023-06-01T12:09:57Z</dcterms:created>
  <dcterms:modified xsi:type="dcterms:W3CDTF">2023-06-13T18:01:30Z</dcterms:modified>
</cp:coreProperties>
</file>